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2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3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7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78" r:id="rId4"/>
    <p:sldMasterId id="2147484191" r:id="rId5"/>
  </p:sldMasterIdLst>
  <p:notesMasterIdLst>
    <p:notesMasterId r:id="rId27"/>
  </p:notesMasterIdLst>
  <p:handoutMasterIdLst>
    <p:handoutMasterId r:id="rId28"/>
  </p:handoutMasterIdLst>
  <p:sldIdLst>
    <p:sldId id="4554" r:id="rId6"/>
    <p:sldId id="2147327140" r:id="rId7"/>
    <p:sldId id="4310" r:id="rId8"/>
    <p:sldId id="2147327525" r:id="rId9"/>
    <p:sldId id="2147327475" r:id="rId10"/>
    <p:sldId id="2147478214" r:id="rId11"/>
    <p:sldId id="2147327527" r:id="rId12"/>
    <p:sldId id="2147327528" r:id="rId13"/>
    <p:sldId id="2147327529" r:id="rId14"/>
    <p:sldId id="2147478215" r:id="rId15"/>
    <p:sldId id="2147478212" r:id="rId16"/>
    <p:sldId id="2147478213" r:id="rId17"/>
    <p:sldId id="2147330665" r:id="rId18"/>
    <p:sldId id="2147478211" r:id="rId19"/>
    <p:sldId id="2147478217" r:id="rId20"/>
    <p:sldId id="2147478218" r:id="rId21"/>
    <p:sldId id="4602" r:id="rId22"/>
    <p:sldId id="2147478216" r:id="rId23"/>
    <p:sldId id="2147330650" r:id="rId24"/>
    <p:sldId id="2147327524" r:id="rId25"/>
    <p:sldId id="2147327137" r:id="rId26"/>
  </p:sldIdLst>
  <p:sldSz cx="12192000" cy="6858000"/>
  <p:notesSz cx="6858000" cy="9144000"/>
  <p:custDataLst>
    <p:tags r:id="rId29"/>
  </p:custDataLst>
  <p:defaultTextStyle>
    <a:defPPr marL="0" marR="0" indent="0" algn="l" defTabSz="121917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37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733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1pPr>
    <a:lvl2pPr marL="0" marR="0" indent="457189" algn="l" defTabSz="91437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733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2pPr>
    <a:lvl3pPr marL="0" marR="0" indent="914377" algn="l" defTabSz="91437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733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3pPr>
    <a:lvl4pPr marL="0" marR="0" indent="1371566" algn="l" defTabSz="91437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733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4pPr>
    <a:lvl5pPr marL="0" marR="0" indent="1828754" algn="l" defTabSz="91437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733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5pPr>
    <a:lvl6pPr marL="0" marR="0" indent="2285943" algn="l" defTabSz="91437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733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6pPr>
    <a:lvl7pPr marL="0" marR="0" indent="2743131" algn="l" defTabSz="91437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733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7pPr>
    <a:lvl8pPr marL="0" marR="0" indent="3200320" algn="l" defTabSz="91437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733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8pPr>
    <a:lvl9pPr marL="0" marR="0" indent="3657509" algn="l" defTabSz="91437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733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C9188921-4A3F-49F8-BDC4-1FE7C63E8E2C}">
          <p14:sldIdLst>
            <p14:sldId id="4554"/>
            <p14:sldId id="2147327140"/>
            <p14:sldId id="4310"/>
            <p14:sldId id="2147327525"/>
            <p14:sldId id="2147327475"/>
            <p14:sldId id="2147478214"/>
            <p14:sldId id="2147327527"/>
            <p14:sldId id="2147327528"/>
            <p14:sldId id="2147327529"/>
            <p14:sldId id="2147478215"/>
            <p14:sldId id="2147478212"/>
            <p14:sldId id="2147478213"/>
            <p14:sldId id="2147330665"/>
            <p14:sldId id="2147478211"/>
            <p14:sldId id="2147478217"/>
            <p14:sldId id="2147478218"/>
            <p14:sldId id="4602"/>
            <p14:sldId id="2147478216"/>
            <p14:sldId id="2147330650"/>
            <p14:sldId id="2147327524"/>
            <p14:sldId id="214732713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mith, Steven" initials="SS" lastIdx="4" clrIdx="0">
    <p:extLst>
      <p:ext uri="{19B8F6BF-5375-455C-9EA6-DF929625EA0E}">
        <p15:presenceInfo xmlns:p15="http://schemas.microsoft.com/office/powerpoint/2012/main" userId="S::steven.smith@jdpa.com::2afbc357-43a7-4598-83bb-a09224582fcc" providerId="AD"/>
      </p:ext>
    </p:extLst>
  </p:cmAuthor>
  <p:cmAuthor id="2" name="Montes, Jair" initials="MJ" lastIdx="2" clrIdx="1">
    <p:extLst>
      <p:ext uri="{19B8F6BF-5375-455C-9EA6-DF929625EA0E}">
        <p15:presenceInfo xmlns:p15="http://schemas.microsoft.com/office/powerpoint/2012/main" userId="S::jair.montes@jdpa.com::d70d60d2-9dff-41e4-bc81-96189a30587b" providerId="AD"/>
      </p:ext>
    </p:extLst>
  </p:cmAuthor>
  <p:cmAuthor id="3" name="Regalado, Oscar" initials="RO" lastIdx="4" clrIdx="2">
    <p:extLst>
      <p:ext uri="{19B8F6BF-5375-455C-9EA6-DF929625EA0E}">
        <p15:presenceInfo xmlns:p15="http://schemas.microsoft.com/office/powerpoint/2012/main" userId="S::oscar.regalado@jdpa.com::65844286-82f1-446a-a8c2-181c1192fbf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CBCB"/>
    <a:srgbClr val="000000"/>
    <a:srgbClr val="00EE17"/>
    <a:srgbClr val="C00000"/>
    <a:srgbClr val="F13DCF"/>
    <a:srgbClr val="F4800C"/>
    <a:srgbClr val="0087FB"/>
    <a:srgbClr val="1F1F1F"/>
    <a:srgbClr val="0FA0DB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B7ECFA-E832-4A54-8AC5-1E7FEEC78D9E}" v="172" dt="2025-10-21T18:33:22.090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CF6D5"/>
          </a:solidFill>
        </a:fill>
      </a:tcStyle>
    </a:wholeTbl>
    <a:band2H>
      <a:tcTxStyle/>
      <a:tcStyle>
        <a:tcBdr/>
        <a:fill>
          <a:solidFill>
            <a:srgbClr val="E7FAEB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BE5E6"/>
          </a:solidFill>
        </a:fill>
      </a:tcStyle>
    </a:wholeTbl>
    <a:band2H>
      <a:tcTxStyle/>
      <a:tcStyle>
        <a:tcBdr/>
        <a:fill>
          <a:solidFill>
            <a:srgbClr val="E7F2F3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BDBDB"/>
          </a:solidFill>
        </a:fill>
      </a:tcStyle>
    </a:wholeTbl>
    <a:band2H>
      <a:tcTxStyle/>
      <a:tcStyle>
        <a:tcBdr/>
        <a:fill>
          <a:solidFill>
            <a:srgbClr val="EEEEEE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521" autoAdjust="0"/>
  </p:normalViewPr>
  <p:slideViewPr>
    <p:cSldViewPr snapToGrid="0">
      <p:cViewPr varScale="1">
        <p:scale>
          <a:sx n="63" d="100"/>
          <a:sy n="63" d="100"/>
        </p:scale>
        <p:origin x="99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jdpower.sharepoint.com/sites/MxPractice/Shared%20Documents/01%20Sindicados/2023/CSI-LT/Event%20Presentation/06a25679-dcfa-4d32-bdbd-77a60ef4d88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2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jdpower.sharepoint.com/sites/MxPractice/Shared%20Documents/01%20Sindicados/2022/SSI%202022/Presentation%20Tool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grf global'!$C$7</c:f>
              <c:strCache>
                <c:ptCount val="1"/>
                <c:pt idx="0">
                  <c:v>Global Produc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52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f global'!$D$6:$P$6</c:f>
              <c:strCache>
                <c:ptCount val="1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F</c:v>
                </c:pt>
                <c:pt idx="8">
                  <c:v>2026F</c:v>
                </c:pt>
                <c:pt idx="9">
                  <c:v>2027F</c:v>
                </c:pt>
                <c:pt idx="10">
                  <c:v>2028F</c:v>
                </c:pt>
                <c:pt idx="11">
                  <c:v>2029F</c:v>
                </c:pt>
                <c:pt idx="12">
                  <c:v>2030F</c:v>
                </c:pt>
              </c:strCache>
            </c:strRef>
          </c:cat>
          <c:val>
            <c:numRef>
              <c:f>'grf global'!$D$7:$P$7</c:f>
              <c:numCache>
                <c:formatCode>0.00</c:formatCode>
                <c:ptCount val="13"/>
                <c:pt idx="0">
                  <c:v>94.143517000000003</c:v>
                </c:pt>
                <c:pt idx="1">
                  <c:v>88.783277999999996</c:v>
                </c:pt>
                <c:pt idx="2">
                  <c:v>74.675805999999994</c:v>
                </c:pt>
                <c:pt idx="3">
                  <c:v>76.893405999999999</c:v>
                </c:pt>
                <c:pt idx="4">
                  <c:v>82.320859999999996</c:v>
                </c:pt>
                <c:pt idx="5">
                  <c:v>90.820947000000004</c:v>
                </c:pt>
                <c:pt idx="6">
                  <c:v>90.158629000000005</c:v>
                </c:pt>
                <c:pt idx="7">
                  <c:v>90.743984999999995</c:v>
                </c:pt>
                <c:pt idx="8">
                  <c:v>91.218745999999996</c:v>
                </c:pt>
                <c:pt idx="9">
                  <c:v>93.339240000000004</c:v>
                </c:pt>
                <c:pt idx="10">
                  <c:v>94.653716000000003</c:v>
                </c:pt>
                <c:pt idx="11">
                  <c:v>96.488596999999999</c:v>
                </c:pt>
                <c:pt idx="12">
                  <c:v>97.568442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9B-4465-A5A6-E949B9F07F63}"/>
            </c:ext>
          </c:extLst>
        </c:ser>
        <c:ser>
          <c:idx val="1"/>
          <c:order val="1"/>
          <c:tx>
            <c:strRef>
              <c:f>'grf global'!$C$8</c:f>
              <c:strCache>
                <c:ptCount val="1"/>
                <c:pt idx="0">
                  <c:v>Global Sa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46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1" u="none" strike="noStrike" kern="1200" baseline="0">
                    <a:solidFill>
                      <a:schemeClr val="accent5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f global'!$D$6:$P$6</c:f>
              <c:strCache>
                <c:ptCount val="1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F</c:v>
                </c:pt>
                <c:pt idx="8">
                  <c:v>2026F</c:v>
                </c:pt>
                <c:pt idx="9">
                  <c:v>2027F</c:v>
                </c:pt>
                <c:pt idx="10">
                  <c:v>2028F</c:v>
                </c:pt>
                <c:pt idx="11">
                  <c:v>2029F</c:v>
                </c:pt>
                <c:pt idx="12">
                  <c:v>2030F</c:v>
                </c:pt>
              </c:strCache>
            </c:strRef>
          </c:cat>
          <c:val>
            <c:numRef>
              <c:f>'grf global'!$D$8:$P$8</c:f>
              <c:numCache>
                <c:formatCode>0.00</c:formatCode>
                <c:ptCount val="13"/>
                <c:pt idx="0">
                  <c:v>94.344429000000005</c:v>
                </c:pt>
                <c:pt idx="1">
                  <c:v>89.302783000000005</c:v>
                </c:pt>
                <c:pt idx="2">
                  <c:v>76.876975999999999</c:v>
                </c:pt>
                <c:pt idx="3">
                  <c:v>79.993323000000004</c:v>
                </c:pt>
                <c:pt idx="4">
                  <c:v>78.788533999999999</c:v>
                </c:pt>
                <c:pt idx="5">
                  <c:v>86.848251000000005</c:v>
                </c:pt>
                <c:pt idx="6">
                  <c:v>88.730406000000002</c:v>
                </c:pt>
                <c:pt idx="7">
                  <c:v>90.412035000000003</c:v>
                </c:pt>
                <c:pt idx="8">
                  <c:v>91.140968999999998</c:v>
                </c:pt>
                <c:pt idx="9">
                  <c:v>92.691085999999999</c:v>
                </c:pt>
                <c:pt idx="10">
                  <c:v>93.774866000000003</c:v>
                </c:pt>
                <c:pt idx="11">
                  <c:v>95.447871000000006</c:v>
                </c:pt>
                <c:pt idx="12">
                  <c:v>96.785255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9B-4465-A5A6-E949B9F07F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1"/>
        <c:overlap val="-14"/>
        <c:axId val="1711325663"/>
        <c:axId val="1665896047"/>
      </c:barChart>
      <c:catAx>
        <c:axId val="17113256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all" spc="120" normalizeH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665896047"/>
        <c:crosses val="autoZero"/>
        <c:auto val="1"/>
        <c:lblAlgn val="ctr"/>
        <c:lblOffset val="100"/>
        <c:noMultiLvlLbl val="0"/>
      </c:catAx>
      <c:valAx>
        <c:axId val="1665896047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17113256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bg1"/>
          </a:solidFill>
        </a:defRPr>
      </a:pPr>
      <a:endParaRPr lang="es-MX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s-MX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P1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6D3-46D6-8577-642BF0080D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Híbrido</c:v>
                </c:pt>
                <c:pt idx="1">
                  <c:v>Gasolina</c:v>
                </c:pt>
                <c:pt idx="2">
                  <c:v>EVs</c:v>
                </c:pt>
                <c:pt idx="3">
                  <c:v>Industria</c:v>
                </c:pt>
                <c:pt idx="4">
                  <c:v>PHEV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58</c:v>
                </c:pt>
                <c:pt idx="1">
                  <c:v>295</c:v>
                </c:pt>
                <c:pt idx="2">
                  <c:v>295</c:v>
                </c:pt>
                <c:pt idx="3">
                  <c:v>296</c:v>
                </c:pt>
                <c:pt idx="4">
                  <c:v>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D3-46D6-8577-642BF0080D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1619076464"/>
        <c:axId val="1619070224"/>
      </c:barChart>
      <c:catAx>
        <c:axId val="1619076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619070224"/>
        <c:crosses val="autoZero"/>
        <c:auto val="1"/>
        <c:lblAlgn val="ctr"/>
        <c:lblOffset val="100"/>
        <c:noMultiLvlLbl val="0"/>
      </c:catAx>
      <c:valAx>
        <c:axId val="16190702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rgbClr val="1F1F1F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619076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Generation Z</c:v>
                </c:pt>
                <c:pt idx="1">
                  <c:v>Generation Y</c:v>
                </c:pt>
                <c:pt idx="2">
                  <c:v>Generation X</c:v>
                </c:pt>
                <c:pt idx="3">
                  <c:v>Baby Boomers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23</c:v>
                </c:pt>
                <c:pt idx="1">
                  <c:v>0.62</c:v>
                </c:pt>
                <c:pt idx="2">
                  <c:v>0.12</c:v>
                </c:pt>
                <c:pt idx="3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D99-4164-AF15-FDF9772184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88467536"/>
        <c:axId val="58844641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$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$</a:t>
                    </a:r>
                    <a:fld id="{43B69320-634B-49FF-85BE-E917170C806B}" type="VALUE">
                      <a:rPr lang="en-US" smtClean="0"/>
                      <a:pPr/>
                      <a:t>[VALOR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FCCD-4401-AAD3-43ADD92DFEC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$</a:t>
                    </a:r>
                    <a:fld id="{BA3F6FFB-989A-4763-AEAD-39391539D3B8}" type="VALUE">
                      <a:rPr lang="en-US" smtClean="0"/>
                      <a:pPr/>
                      <a:t>[VALOR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CCD-4401-AAD3-43ADD92DFEC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$</a:t>
                    </a:r>
                    <a:fld id="{A235DB5D-71C1-4AC6-9A3B-702DAFC8F5E8}" type="VALUE">
                      <a:rPr lang="en-US" smtClean="0"/>
                      <a:pPr/>
                      <a:t>[VALOR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FCCD-4401-AAD3-43ADD92DFEC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$</a:t>
                    </a:r>
                    <a:fld id="{93E509C7-F2CD-4AF0-B30B-E5B9F7572951}" type="VALUE">
                      <a:rPr lang="en-US" smtClean="0"/>
                      <a:pPr/>
                      <a:t>[VALOR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CCD-4401-AAD3-43ADD92DFE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Generation Z</c:v>
                </c:pt>
                <c:pt idx="1">
                  <c:v>Generation Y</c:v>
                </c:pt>
                <c:pt idx="2">
                  <c:v>Generation X</c:v>
                </c:pt>
                <c:pt idx="3">
                  <c:v>Baby Boomers</c:v>
                </c:pt>
              </c:strCache>
            </c:strRef>
          </c:cat>
          <c:val>
            <c:numRef>
              <c:f>Sheet1!$B$2:$B$5</c:f>
              <c:numCache>
                <c:formatCode>#,##0</c:formatCode>
                <c:ptCount val="4"/>
                <c:pt idx="0">
                  <c:v>3311</c:v>
                </c:pt>
                <c:pt idx="1">
                  <c:v>3252</c:v>
                </c:pt>
                <c:pt idx="2">
                  <c:v>3373</c:v>
                </c:pt>
                <c:pt idx="3">
                  <c:v>32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D99-4164-AF15-FDF9772184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61742351"/>
        <c:axId val="1961726031"/>
      </c:lineChart>
      <c:catAx>
        <c:axId val="58846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8446416"/>
        <c:crosses val="autoZero"/>
        <c:auto val="1"/>
        <c:lblAlgn val="ctr"/>
        <c:lblOffset val="100"/>
        <c:noMultiLvlLbl val="0"/>
      </c:catAx>
      <c:valAx>
        <c:axId val="588446416"/>
        <c:scaling>
          <c:orientation val="minMax"/>
          <c:max val="1.5"/>
          <c:min val="0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8467536"/>
        <c:crosses val="autoZero"/>
        <c:crossBetween val="between"/>
      </c:valAx>
      <c:valAx>
        <c:axId val="1961726031"/>
        <c:scaling>
          <c:orientation val="minMax"/>
          <c:max val="3800"/>
          <c:min val="2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61742351"/>
        <c:crosses val="max"/>
        <c:crossBetween val="between"/>
      </c:valAx>
      <c:catAx>
        <c:axId val="196174235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6172603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1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err="1"/>
              <a:t>Producción</a:t>
            </a:r>
            <a:r>
              <a:rPr lang="en-US"/>
              <a:t> (</a:t>
            </a:r>
            <a:r>
              <a:rPr lang="en-US" err="1"/>
              <a:t>millones</a:t>
            </a:r>
            <a:r>
              <a:rPr lang="en-US"/>
              <a:t>)</a:t>
            </a:r>
          </a:p>
        </c:rich>
      </c:tx>
      <c:layout>
        <c:manualLayout>
          <c:xMode val="edge"/>
          <c:yMode val="edge"/>
          <c:x val="0.38488328823778595"/>
          <c:y val="1.69613685910177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s-MX"/>
        </a:p>
      </c:txPr>
    </c:title>
    <c:autoTitleDeleted val="0"/>
    <c:plotArea>
      <c:layout>
        <c:manualLayout>
          <c:layoutTarget val="inner"/>
          <c:xMode val="edge"/>
          <c:yMode val="edge"/>
          <c:x val="0.33593636824879841"/>
          <c:y val="9.5233778104838893E-2"/>
          <c:w val="0.66406363175120164"/>
          <c:h val="0.8588335314908981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CBE7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EDCF-4A04-875F-1275B1BB8F0B}"/>
              </c:ext>
            </c:extLst>
          </c:dPt>
          <c:dPt>
            <c:idx val="6"/>
            <c:invertIfNegative val="0"/>
            <c:bubble3D val="0"/>
            <c:spPr>
              <a:solidFill>
                <a:srgbClr val="00437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EF-414E-8897-AA2C44B056B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:$D$20</c:f>
              <c:strCache>
                <c:ptCount val="15"/>
                <c:pt idx="0">
                  <c:v>China</c:v>
                </c:pt>
                <c:pt idx="1">
                  <c:v>USA</c:v>
                </c:pt>
                <c:pt idx="2">
                  <c:v>Japan</c:v>
                </c:pt>
                <c:pt idx="3">
                  <c:v>India</c:v>
                </c:pt>
                <c:pt idx="4">
                  <c:v>Germany</c:v>
                </c:pt>
                <c:pt idx="5">
                  <c:v>Korea</c:v>
                </c:pt>
                <c:pt idx="6">
                  <c:v>Mexico</c:v>
                </c:pt>
                <c:pt idx="7">
                  <c:v>Brazil</c:v>
                </c:pt>
                <c:pt idx="8">
                  <c:v>Spain</c:v>
                </c:pt>
                <c:pt idx="9">
                  <c:v>France</c:v>
                </c:pt>
                <c:pt idx="10">
                  <c:v>Czech Republic</c:v>
                </c:pt>
                <c:pt idx="11">
                  <c:v>Turkey</c:v>
                </c:pt>
                <c:pt idx="12">
                  <c:v>Thailand</c:v>
                </c:pt>
                <c:pt idx="13">
                  <c:v>Canada</c:v>
                </c:pt>
                <c:pt idx="14">
                  <c:v>Indonesia</c:v>
                </c:pt>
              </c:strCache>
            </c:strRef>
          </c:cat>
          <c:val>
            <c:numRef>
              <c:f>Hoja1!$E$6:$E$20</c:f>
              <c:numCache>
                <c:formatCode>#,##0.00</c:formatCode>
                <c:ptCount val="15"/>
                <c:pt idx="0">
                  <c:v>32.516495999999997</c:v>
                </c:pt>
                <c:pt idx="1">
                  <c:v>10.028953</c:v>
                </c:pt>
                <c:pt idx="2">
                  <c:v>7.9592309999999999</c:v>
                </c:pt>
                <c:pt idx="3">
                  <c:v>6.0233860000000004</c:v>
                </c:pt>
                <c:pt idx="4">
                  <c:v>4.2634990000000004</c:v>
                </c:pt>
                <c:pt idx="5">
                  <c:v>3.9922270000000002</c:v>
                </c:pt>
                <c:pt idx="6">
                  <c:v>3.896935</c:v>
                </c:pt>
                <c:pt idx="7">
                  <c:v>2.5060929999999999</c:v>
                </c:pt>
                <c:pt idx="8">
                  <c:v>2.1989619999999999</c:v>
                </c:pt>
                <c:pt idx="9">
                  <c:v>1.5007520000000001</c:v>
                </c:pt>
                <c:pt idx="10">
                  <c:v>1.426555</c:v>
                </c:pt>
                <c:pt idx="11">
                  <c:v>1.424928</c:v>
                </c:pt>
                <c:pt idx="12">
                  <c:v>1.403853</c:v>
                </c:pt>
                <c:pt idx="13">
                  <c:v>1.2203219999999999</c:v>
                </c:pt>
                <c:pt idx="14">
                  <c:v>1.0948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EF-414E-8897-AA2C44B056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722185999"/>
        <c:axId val="722186959"/>
      </c:barChart>
      <c:catAx>
        <c:axId val="722185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722186959"/>
        <c:crosses val="autoZero"/>
        <c:auto val="1"/>
        <c:lblAlgn val="ctr"/>
        <c:lblOffset val="100"/>
        <c:noMultiLvlLbl val="0"/>
      </c:catAx>
      <c:valAx>
        <c:axId val="722186959"/>
        <c:scaling>
          <c:orientation val="minMax"/>
        </c:scaling>
        <c:delete val="1"/>
        <c:axPos val="t"/>
        <c:numFmt formatCode="#,##0.00" sourceLinked="1"/>
        <c:majorTickMark val="none"/>
        <c:minorTickMark val="none"/>
        <c:tickLblPos val="nextTo"/>
        <c:crossAx val="722185999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 b="1">
          <a:solidFill>
            <a:schemeClr val="bg1"/>
          </a:solidFill>
        </a:defRPr>
      </a:pPr>
      <a:endParaRPr lang="es-MX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1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Ventas (</a:t>
            </a:r>
            <a:r>
              <a:rPr lang="en-US" err="1"/>
              <a:t>millones</a:t>
            </a:r>
            <a:r>
              <a:rPr lang="en-US"/>
              <a:t>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s-MX"/>
        </a:p>
      </c:txPr>
    </c:title>
    <c:autoTitleDeleted val="0"/>
    <c:plotArea>
      <c:layout>
        <c:manualLayout>
          <c:layoutTarget val="inner"/>
          <c:xMode val="edge"/>
          <c:yMode val="edge"/>
          <c:x val="0.38445740275384721"/>
          <c:y val="0.11054470156040982"/>
          <c:w val="0.54252344650405726"/>
          <c:h val="0.855771317354700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Pt>
            <c:idx val="11"/>
            <c:invertIfNegative val="0"/>
            <c:bubble3D val="0"/>
            <c:spPr>
              <a:solidFill>
                <a:srgbClr val="00437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5E-430A-BBCA-86C211D2200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H$6:$H$20</c:f>
              <c:strCache>
                <c:ptCount val="15"/>
                <c:pt idx="0">
                  <c:v>China</c:v>
                </c:pt>
                <c:pt idx="1">
                  <c:v>USA</c:v>
                </c:pt>
                <c:pt idx="2">
                  <c:v>India</c:v>
                </c:pt>
                <c:pt idx="3">
                  <c:v>Japan</c:v>
                </c:pt>
                <c:pt idx="4">
                  <c:v>Germany</c:v>
                </c:pt>
                <c:pt idx="5">
                  <c:v>Brazil</c:v>
                </c:pt>
                <c:pt idx="6">
                  <c:v>UK</c:v>
                </c:pt>
                <c:pt idx="7">
                  <c:v>France</c:v>
                </c:pt>
                <c:pt idx="8">
                  <c:v>Canada</c:v>
                </c:pt>
                <c:pt idx="9">
                  <c:v>Italy</c:v>
                </c:pt>
                <c:pt idx="10">
                  <c:v>Korea</c:v>
                </c:pt>
                <c:pt idx="11">
                  <c:v>Mexico</c:v>
                </c:pt>
                <c:pt idx="12">
                  <c:v>Turkey</c:v>
                </c:pt>
                <c:pt idx="13">
                  <c:v>Russia</c:v>
                </c:pt>
                <c:pt idx="14">
                  <c:v>Spain</c:v>
                </c:pt>
              </c:strCache>
            </c:strRef>
          </c:cat>
          <c:val>
            <c:numRef>
              <c:f>Hoja1!$I$6:$I$20</c:f>
              <c:numCache>
                <c:formatCode>#,##0.00</c:formatCode>
                <c:ptCount val="15"/>
                <c:pt idx="0">
                  <c:v>27.350936000000001</c:v>
                </c:pt>
                <c:pt idx="1">
                  <c:v>15.823886</c:v>
                </c:pt>
                <c:pt idx="2">
                  <c:v>4.958793</c:v>
                </c:pt>
                <c:pt idx="3">
                  <c:v>4.6644940000000004</c:v>
                </c:pt>
                <c:pt idx="4">
                  <c:v>3.0502069999999999</c:v>
                </c:pt>
                <c:pt idx="5">
                  <c:v>2.5318610000000001</c:v>
                </c:pt>
                <c:pt idx="6">
                  <c:v>2.319712</c:v>
                </c:pt>
                <c:pt idx="7">
                  <c:v>1.962826</c:v>
                </c:pt>
                <c:pt idx="8">
                  <c:v>1.7980529999999999</c:v>
                </c:pt>
                <c:pt idx="9">
                  <c:v>1.720332</c:v>
                </c:pt>
                <c:pt idx="10">
                  <c:v>1.6560980000000001</c:v>
                </c:pt>
                <c:pt idx="11">
                  <c:v>1.5101690000000001</c:v>
                </c:pt>
                <c:pt idx="12">
                  <c:v>1.3021799999999999</c:v>
                </c:pt>
                <c:pt idx="13">
                  <c:v>1.294762</c:v>
                </c:pt>
                <c:pt idx="14">
                  <c:v>1.27565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5E-430A-BBCA-86C211D220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165985455"/>
        <c:axId val="1165987375"/>
      </c:barChart>
      <c:catAx>
        <c:axId val="116598545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165987375"/>
        <c:crosses val="autoZero"/>
        <c:auto val="1"/>
        <c:lblAlgn val="ctr"/>
        <c:lblOffset val="100"/>
        <c:noMultiLvlLbl val="0"/>
      </c:catAx>
      <c:valAx>
        <c:axId val="1165987375"/>
        <c:scaling>
          <c:orientation val="minMax"/>
        </c:scaling>
        <c:delete val="1"/>
        <c:axPos val="t"/>
        <c:numFmt formatCode="#,##0.00" sourceLinked="1"/>
        <c:majorTickMark val="none"/>
        <c:minorTickMark val="none"/>
        <c:tickLblPos val="nextTo"/>
        <c:crossAx val="1165985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="1">
          <a:solidFill>
            <a:schemeClr val="bg1"/>
          </a:solidFill>
        </a:defRPr>
      </a:pPr>
      <a:endParaRPr lang="es-MX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0120021865622046E-2"/>
          <c:y val="0.13091902848743364"/>
          <c:w val="0.97526216877292393"/>
          <c:h val="0.795946456191480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Graf mexico'!$C$9</c:f>
              <c:strCache>
                <c:ptCount val="1"/>
                <c:pt idx="0">
                  <c:v>Mexican Produc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Graf mexico'!$D$8:$P$8</c:f>
              <c:strCache>
                <c:ptCount val="1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F</c:v>
                </c:pt>
                <c:pt idx="8">
                  <c:v>2026F</c:v>
                </c:pt>
                <c:pt idx="9">
                  <c:v>2027F</c:v>
                </c:pt>
                <c:pt idx="10">
                  <c:v>2028F</c:v>
                </c:pt>
                <c:pt idx="11">
                  <c:v>2029F</c:v>
                </c:pt>
                <c:pt idx="12">
                  <c:v>2030F</c:v>
                </c:pt>
              </c:strCache>
            </c:strRef>
          </c:cat>
          <c:val>
            <c:numRef>
              <c:f>'Graf mexico'!$D$9:$P$9</c:f>
              <c:numCache>
                <c:formatCode>0.00</c:formatCode>
                <c:ptCount val="13"/>
                <c:pt idx="0">
                  <c:v>3.9082620000000001</c:v>
                </c:pt>
                <c:pt idx="1">
                  <c:v>3.7763599999999999</c:v>
                </c:pt>
                <c:pt idx="2">
                  <c:v>3.0147889999999999</c:v>
                </c:pt>
                <c:pt idx="3">
                  <c:v>2.9846469999999998</c:v>
                </c:pt>
                <c:pt idx="4">
                  <c:v>3.2629160000000001</c:v>
                </c:pt>
                <c:pt idx="5">
                  <c:v>3.7497590000000001</c:v>
                </c:pt>
                <c:pt idx="6">
                  <c:v>3.9373649999999998</c:v>
                </c:pt>
                <c:pt idx="7">
                  <c:v>3.896935</c:v>
                </c:pt>
                <c:pt idx="8">
                  <c:v>4.1947530000000004</c:v>
                </c:pt>
                <c:pt idx="9">
                  <c:v>3.9143119999999998</c:v>
                </c:pt>
                <c:pt idx="10">
                  <c:v>3.70194</c:v>
                </c:pt>
                <c:pt idx="11">
                  <c:v>3.8112529999999998</c:v>
                </c:pt>
                <c:pt idx="12">
                  <c:v>3.8993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5-44DA-B5B3-4197AE5F8C53}"/>
            </c:ext>
          </c:extLst>
        </c:ser>
        <c:ser>
          <c:idx val="1"/>
          <c:order val="1"/>
          <c:tx>
            <c:strRef>
              <c:f>'Graf mexico'!$C$10</c:f>
              <c:strCache>
                <c:ptCount val="1"/>
                <c:pt idx="0">
                  <c:v>Mexican Sa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 mexico'!$D$8:$P$8</c:f>
              <c:strCache>
                <c:ptCount val="1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F</c:v>
                </c:pt>
                <c:pt idx="8">
                  <c:v>2026F</c:v>
                </c:pt>
                <c:pt idx="9">
                  <c:v>2027F</c:v>
                </c:pt>
                <c:pt idx="10">
                  <c:v>2028F</c:v>
                </c:pt>
                <c:pt idx="11">
                  <c:v>2029F</c:v>
                </c:pt>
                <c:pt idx="12">
                  <c:v>2030F</c:v>
                </c:pt>
              </c:strCache>
            </c:strRef>
          </c:cat>
          <c:val>
            <c:numRef>
              <c:f>'Graf mexico'!$D$10:$P$10</c:f>
              <c:numCache>
                <c:formatCode>0.00</c:formatCode>
                <c:ptCount val="13"/>
                <c:pt idx="0">
                  <c:v>1.420075</c:v>
                </c:pt>
                <c:pt idx="1">
                  <c:v>1.309606</c:v>
                </c:pt>
                <c:pt idx="2">
                  <c:v>0.944268</c:v>
                </c:pt>
                <c:pt idx="3">
                  <c:v>1.0038119999999999</c:v>
                </c:pt>
                <c:pt idx="4">
                  <c:v>1.080022</c:v>
                </c:pt>
                <c:pt idx="5">
                  <c:v>1.36</c:v>
                </c:pt>
                <c:pt idx="6">
                  <c:v>1.49</c:v>
                </c:pt>
                <c:pt idx="7">
                  <c:v>1.5101690000000001</c:v>
                </c:pt>
                <c:pt idx="8">
                  <c:v>1.523806</c:v>
                </c:pt>
                <c:pt idx="9">
                  <c:v>1.57179</c:v>
                </c:pt>
                <c:pt idx="10">
                  <c:v>1.5958969999999999</c:v>
                </c:pt>
                <c:pt idx="11">
                  <c:v>1.613127</c:v>
                </c:pt>
                <c:pt idx="12">
                  <c:v>1.635326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65-44DA-B5B3-4197AE5F8C5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1"/>
        <c:overlap val="-14"/>
        <c:axId val="1992267007"/>
        <c:axId val="1992266527"/>
      </c:barChart>
      <c:catAx>
        <c:axId val="19922670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all" spc="120" normalizeH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992266527"/>
        <c:crosses val="autoZero"/>
        <c:auto val="1"/>
        <c:lblAlgn val="ctr"/>
        <c:lblOffset val="100"/>
        <c:noMultiLvlLbl val="0"/>
      </c:catAx>
      <c:valAx>
        <c:axId val="1992266527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19922670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bg1"/>
          </a:solidFill>
        </a:defRPr>
      </a:pPr>
      <a:endParaRPr lang="es-MX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atinoamerica!$B$14</c:f>
              <c:strCache>
                <c:ptCount val="1"/>
                <c:pt idx="0">
                  <c:v>Produc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520000" spcFirstLastPara="1" vertOverflow="ellipsis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atinoamerica!$C$13:$O$13</c:f>
              <c:strCache>
                <c:ptCount val="1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F</c:v>
                </c:pt>
                <c:pt idx="6">
                  <c:v>2026F</c:v>
                </c:pt>
                <c:pt idx="7">
                  <c:v>2027F</c:v>
                </c:pt>
                <c:pt idx="8">
                  <c:v>2028F</c:v>
                </c:pt>
                <c:pt idx="9">
                  <c:v>2029F</c:v>
                </c:pt>
                <c:pt idx="10">
                  <c:v>2030F</c:v>
                </c:pt>
                <c:pt idx="11">
                  <c:v>2031F</c:v>
                </c:pt>
                <c:pt idx="12">
                  <c:v>2032F</c:v>
                </c:pt>
              </c:strCache>
            </c:strRef>
          </c:cat>
          <c:val>
            <c:numRef>
              <c:f>Latinoamerica!$C$14:$O$14</c:f>
              <c:numCache>
                <c:formatCode>0.00</c:formatCode>
                <c:ptCount val="13"/>
                <c:pt idx="0">
                  <c:v>5.2547350000000002</c:v>
                </c:pt>
                <c:pt idx="1">
                  <c:v>5.5933840000000004</c:v>
                </c:pt>
                <c:pt idx="2">
                  <c:v>6.097702</c:v>
                </c:pt>
                <c:pt idx="3">
                  <c:v>6.7002569999999997</c:v>
                </c:pt>
                <c:pt idx="4">
                  <c:v>6.9498629999999997</c:v>
                </c:pt>
                <c:pt idx="5">
                  <c:v>6.9898420000000003</c:v>
                </c:pt>
                <c:pt idx="6">
                  <c:v>7.45181</c:v>
                </c:pt>
                <c:pt idx="7">
                  <c:v>7.4454750000000001</c:v>
                </c:pt>
                <c:pt idx="8">
                  <c:v>7.3516019999999997</c:v>
                </c:pt>
                <c:pt idx="9">
                  <c:v>7.48325</c:v>
                </c:pt>
                <c:pt idx="10">
                  <c:v>7.6792939999999996</c:v>
                </c:pt>
                <c:pt idx="11">
                  <c:v>7.7558559999999996</c:v>
                </c:pt>
                <c:pt idx="12">
                  <c:v>7.934108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A8-48F7-955A-1A5E74FDA576}"/>
            </c:ext>
          </c:extLst>
        </c:ser>
        <c:ser>
          <c:idx val="1"/>
          <c:order val="1"/>
          <c:tx>
            <c:strRef>
              <c:f>Latinoamerica!$B$15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520000" spcFirstLastPara="1" vertOverflow="ellipsis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accent5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atinoamerica!$C$13:$O$13</c:f>
              <c:strCache>
                <c:ptCount val="1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F</c:v>
                </c:pt>
                <c:pt idx="6">
                  <c:v>2026F</c:v>
                </c:pt>
                <c:pt idx="7">
                  <c:v>2027F</c:v>
                </c:pt>
                <c:pt idx="8">
                  <c:v>2028F</c:v>
                </c:pt>
                <c:pt idx="9">
                  <c:v>2029F</c:v>
                </c:pt>
                <c:pt idx="10">
                  <c:v>2030F</c:v>
                </c:pt>
                <c:pt idx="11">
                  <c:v>2031F</c:v>
                </c:pt>
                <c:pt idx="12">
                  <c:v>2032F</c:v>
                </c:pt>
              </c:strCache>
            </c:strRef>
          </c:cat>
          <c:val>
            <c:numRef>
              <c:f>Latinoamerica!$C$15:$O$15</c:f>
              <c:numCache>
                <c:formatCode>0.00</c:formatCode>
                <c:ptCount val="13"/>
                <c:pt idx="0">
                  <c:v>4.1710039999999999</c:v>
                </c:pt>
                <c:pt idx="1">
                  <c:v>4.6293620000000004</c:v>
                </c:pt>
                <c:pt idx="2">
                  <c:v>4.7864870000000002</c:v>
                </c:pt>
                <c:pt idx="3">
                  <c:v>5.1948410000000003</c:v>
                </c:pt>
                <c:pt idx="4">
                  <c:v>5.6330629999999999</c:v>
                </c:pt>
                <c:pt idx="5">
                  <c:v>5.9821039999999996</c:v>
                </c:pt>
                <c:pt idx="6">
                  <c:v>6.3493219999999999</c:v>
                </c:pt>
                <c:pt idx="7">
                  <c:v>6.5726290000000001</c:v>
                </c:pt>
                <c:pt idx="8">
                  <c:v>6.7940550000000002</c:v>
                </c:pt>
                <c:pt idx="9">
                  <c:v>7.0297190000000001</c:v>
                </c:pt>
                <c:pt idx="10">
                  <c:v>7.2596829999999999</c:v>
                </c:pt>
                <c:pt idx="11">
                  <c:v>7.448969</c:v>
                </c:pt>
                <c:pt idx="12">
                  <c:v>7.603449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A8-48F7-955A-1A5E74FDA57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1"/>
        <c:overlap val="-14"/>
        <c:axId val="1175871168"/>
        <c:axId val="1175872608"/>
      </c:barChart>
      <c:catAx>
        <c:axId val="11758711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175872608"/>
        <c:crosses val="autoZero"/>
        <c:auto val="1"/>
        <c:lblAlgn val="ctr"/>
        <c:lblOffset val="100"/>
        <c:noMultiLvlLbl val="0"/>
      </c:catAx>
      <c:valAx>
        <c:axId val="1175872608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1175871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="1"/>
      </a:pPr>
      <a:endParaRPr lang="es-MX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285031183156033E-2"/>
          <c:y val="7.8095253308692228E-2"/>
          <c:w val="0.97522701549818835"/>
          <c:h val="0.80614162288963687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MEX!$E$26</c:f>
              <c:strCache>
                <c:ptCount val="1"/>
                <c:pt idx="0">
                  <c:v>ICE</c:v>
                </c:pt>
              </c:strCache>
            </c:strRef>
          </c:tx>
          <c:spPr>
            <a:solidFill>
              <a:srgbClr val="0047B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EX!$B$27:$B$41</c:f>
              <c:strCach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 F</c:v>
                </c:pt>
                <c:pt idx="10">
                  <c:v>2026 F</c:v>
                </c:pt>
                <c:pt idx="11">
                  <c:v>2027 F</c:v>
                </c:pt>
                <c:pt idx="12">
                  <c:v>2028 F</c:v>
                </c:pt>
                <c:pt idx="13">
                  <c:v>2029 F</c:v>
                </c:pt>
                <c:pt idx="14">
                  <c:v>2030 F</c:v>
                </c:pt>
              </c:strCache>
            </c:strRef>
          </c:cat>
          <c:val>
            <c:numRef>
              <c:f>MEX!$E$27:$E$41</c:f>
              <c:numCache>
                <c:formatCode>###0.00</c:formatCode>
                <c:ptCount val="15"/>
                <c:pt idx="0">
                  <c:v>90.318072000000001</c:v>
                </c:pt>
                <c:pt idx="1">
                  <c:v>91.547635999999997</c:v>
                </c:pt>
                <c:pt idx="2">
                  <c:v>89.647452000000001</c:v>
                </c:pt>
                <c:pt idx="3">
                  <c:v>83.427603000000005</c:v>
                </c:pt>
                <c:pt idx="4">
                  <c:v>68.859522999999996</c:v>
                </c:pt>
                <c:pt idx="5">
                  <c:v>66.328440000000001</c:v>
                </c:pt>
                <c:pt idx="6">
                  <c:v>60.006180999999998</c:v>
                </c:pt>
                <c:pt idx="7">
                  <c:v>62.165413000000001</c:v>
                </c:pt>
                <c:pt idx="8">
                  <c:v>58.183188999999999</c:v>
                </c:pt>
                <c:pt idx="9" formatCode="0.00">
                  <c:v>53.762478999999999</c:v>
                </c:pt>
                <c:pt idx="10" formatCode="0.00">
                  <c:v>49.061329000000001</c:v>
                </c:pt>
                <c:pt idx="11" formatCode="0.00">
                  <c:v>45.144174</c:v>
                </c:pt>
                <c:pt idx="12" formatCode="0.00">
                  <c:v>41.956383000000002</c:v>
                </c:pt>
                <c:pt idx="13" formatCode="0.00">
                  <c:v>39.287855999999998</c:v>
                </c:pt>
                <c:pt idx="14" formatCode="0.00">
                  <c:v>36.323748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E0-4BC5-B03C-4F35F3B62598}"/>
            </c:ext>
          </c:extLst>
        </c:ser>
        <c:ser>
          <c:idx val="0"/>
          <c:order val="1"/>
          <c:tx>
            <c:strRef>
              <c:f>MEX!$C$26</c:f>
              <c:strCache>
                <c:ptCount val="1"/>
                <c:pt idx="0">
                  <c:v>EV´s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dLbl>
              <c:idx val="4"/>
              <c:layout>
                <c:manualLayout>
                  <c:x val="-2.2028372543836864E-3"/>
                  <c:y val="-1.30045776113192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FC8-460D-A081-B972B2FA926D}"/>
                </c:ext>
              </c:extLst>
            </c:dLbl>
            <c:numFmt formatCode="#,##0.0" sourceLinked="0"/>
            <c:spPr>
              <a:solidFill>
                <a:schemeClr val="accent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highlight>
                      <a:srgbClr val="00FF00"/>
                    </a:highlight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EX!$B$27:$B$41</c:f>
              <c:strCach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 F</c:v>
                </c:pt>
                <c:pt idx="10">
                  <c:v>2026 F</c:v>
                </c:pt>
                <c:pt idx="11">
                  <c:v>2027 F</c:v>
                </c:pt>
                <c:pt idx="12">
                  <c:v>2028 F</c:v>
                </c:pt>
                <c:pt idx="13">
                  <c:v>2029 F</c:v>
                </c:pt>
                <c:pt idx="14">
                  <c:v>2030 F</c:v>
                </c:pt>
              </c:strCache>
            </c:strRef>
          </c:cat>
          <c:val>
            <c:numRef>
              <c:f>MEX!$C$27:$C$41</c:f>
              <c:numCache>
                <c:formatCode>0.00</c:formatCode>
                <c:ptCount val="15"/>
                <c:pt idx="0">
                  <c:v>0.479128</c:v>
                </c:pt>
                <c:pt idx="1">
                  <c:v>0.86973699999999998</c:v>
                </c:pt>
                <c:pt idx="2">
                  <c:v>1.4223129999999999</c:v>
                </c:pt>
                <c:pt idx="3">
                  <c:v>1.6886350000000001</c:v>
                </c:pt>
                <c:pt idx="4">
                  <c:v>2.2278250000000002</c:v>
                </c:pt>
                <c:pt idx="5">
                  <c:v>4.6434439999999997</c:v>
                </c:pt>
                <c:pt idx="6">
                  <c:v>7.6906359999999996</c:v>
                </c:pt>
                <c:pt idx="7">
                  <c:v>10.470974</c:v>
                </c:pt>
                <c:pt idx="8">
                  <c:v>12.400414</c:v>
                </c:pt>
                <c:pt idx="9">
                  <c:v>15.005493</c:v>
                </c:pt>
                <c:pt idx="10">
                  <c:v>17.952650999999999</c:v>
                </c:pt>
                <c:pt idx="11">
                  <c:v>21.447816</c:v>
                </c:pt>
                <c:pt idx="12">
                  <c:v>25.157512000000001</c:v>
                </c:pt>
                <c:pt idx="13">
                  <c:v>29.248308000000002</c:v>
                </c:pt>
                <c:pt idx="14">
                  <c:v>33.340133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F3-4E2B-BDFB-30069133052A}"/>
            </c:ext>
          </c:extLst>
        </c:ser>
        <c:ser>
          <c:idx val="1"/>
          <c:order val="2"/>
          <c:tx>
            <c:strRef>
              <c:f>MEX!$D$26</c:f>
              <c:strCache>
                <c:ptCount val="1"/>
                <c:pt idx="0">
                  <c:v>Hybri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1014186271918231E-3"/>
                  <c:y val="-5.231362699512750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4AD-47D7-A38D-3733F224EB37}"/>
                </c:ext>
              </c:extLst>
            </c:dLbl>
            <c:dLbl>
              <c:idx val="1"/>
              <c:layout>
                <c:manualLayout>
                  <c:x val="0"/>
                  <c:y val="-3.565466067677867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4AD-47D7-A38D-3733F224EB37}"/>
                </c:ext>
              </c:extLst>
            </c:dLbl>
            <c:dLbl>
              <c:idx val="2"/>
              <c:layout>
                <c:manualLayout>
                  <c:x val="2.019244156704202E-17"/>
                  <c:y val="-2.211822656063127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4AD-47D7-A38D-3733F224EB37}"/>
                </c:ext>
              </c:extLst>
            </c:dLbl>
            <c:dLbl>
              <c:idx val="3"/>
              <c:layout>
                <c:manualLayout>
                  <c:x val="0"/>
                  <c:y val="-3.829858346358390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4AD-47D7-A38D-3733F224EB37}"/>
                </c:ext>
              </c:extLst>
            </c:dLbl>
            <c:dLbl>
              <c:idx val="4"/>
              <c:layout>
                <c:manualLayout>
                  <c:x val="1.1014186271917827E-3"/>
                  <c:y val="-4.878150179729406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4AD-47D7-A38D-3733F224EB37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pPr>
                <a:endParaRPr lang="es-MX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EX!$B$27:$B$41</c:f>
              <c:strCach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 F</c:v>
                </c:pt>
                <c:pt idx="10">
                  <c:v>2026 F</c:v>
                </c:pt>
                <c:pt idx="11">
                  <c:v>2027 F</c:v>
                </c:pt>
                <c:pt idx="12">
                  <c:v>2028 F</c:v>
                </c:pt>
                <c:pt idx="13">
                  <c:v>2029 F</c:v>
                </c:pt>
                <c:pt idx="14">
                  <c:v>2030 F</c:v>
                </c:pt>
              </c:strCache>
            </c:strRef>
          </c:cat>
          <c:val>
            <c:numRef>
              <c:f>MEX!$D$27:$D$41</c:f>
              <c:numCache>
                <c:formatCode>0.00</c:formatCode>
                <c:ptCount val="15"/>
                <c:pt idx="0">
                  <c:v>2.1786409999999998</c:v>
                </c:pt>
                <c:pt idx="1">
                  <c:v>2.6393369999999998</c:v>
                </c:pt>
                <c:pt idx="2">
                  <c:v>3.2553030000000001</c:v>
                </c:pt>
                <c:pt idx="3">
                  <c:v>4.1865949999999996</c:v>
                </c:pt>
                <c:pt idx="4">
                  <c:v>5.7893559999999997</c:v>
                </c:pt>
                <c:pt idx="5">
                  <c:v>9.0211020000000008</c:v>
                </c:pt>
                <c:pt idx="6">
                  <c:v>11.100087</c:v>
                </c:pt>
                <c:pt idx="7">
                  <c:v>14.213003</c:v>
                </c:pt>
                <c:pt idx="8">
                  <c:v>17.802061999999999</c:v>
                </c:pt>
                <c:pt idx="9">
                  <c:v>21.180213999999999</c:v>
                </c:pt>
                <c:pt idx="10">
                  <c:v>23.356380999999999</c:v>
                </c:pt>
                <c:pt idx="11">
                  <c:v>25.832716000000001</c:v>
                </c:pt>
                <c:pt idx="12">
                  <c:v>26.737037999999998</c:v>
                </c:pt>
                <c:pt idx="13">
                  <c:v>27.173548</c:v>
                </c:pt>
                <c:pt idx="14">
                  <c:v>27.3904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F3-4E2B-BDFB-3006913305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74725488"/>
        <c:axId val="952177312"/>
      </c:barChart>
      <c:catAx>
        <c:axId val="974725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pPr>
            <a:endParaRPr lang="es-MX"/>
          </a:p>
        </c:txPr>
        <c:crossAx val="952177312"/>
        <c:crosses val="autoZero"/>
        <c:auto val="1"/>
        <c:lblAlgn val="ctr"/>
        <c:lblOffset val="100"/>
        <c:noMultiLvlLbl val="0"/>
      </c:catAx>
      <c:valAx>
        <c:axId val="952177312"/>
        <c:scaling>
          <c:orientation val="minMax"/>
        </c:scaling>
        <c:delete val="1"/>
        <c:axPos val="l"/>
        <c:numFmt formatCode="###0.00" sourceLinked="1"/>
        <c:majorTickMark val="none"/>
        <c:minorTickMark val="none"/>
        <c:tickLblPos val="nextTo"/>
        <c:crossAx val="974725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285031183156033E-2"/>
          <c:y val="6.2489760175109196E-2"/>
          <c:w val="0.97522701549818835"/>
          <c:h val="0.80614162288963687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MEX!$E$26</c:f>
              <c:strCache>
                <c:ptCount val="1"/>
                <c:pt idx="0">
                  <c:v>ICE</c:v>
                </c:pt>
              </c:strCache>
            </c:strRef>
          </c:tx>
          <c:spPr>
            <a:solidFill>
              <a:srgbClr val="0047BA"/>
            </a:solidFill>
            <a:ln>
              <a:noFill/>
            </a:ln>
            <a:effectLst/>
          </c:spPr>
          <c:invertIfNegative val="0"/>
          <c:dLbls>
            <c:numFmt formatCode="_(* #,##0_);_(* \(#,##0\);_(* &quot;-&quot;_);_(@_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EX!$B$27:$B$41</c:f>
              <c:strCach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 F</c:v>
                </c:pt>
                <c:pt idx="10">
                  <c:v>2026 F</c:v>
                </c:pt>
                <c:pt idx="11">
                  <c:v>2027 F</c:v>
                </c:pt>
                <c:pt idx="12">
                  <c:v>2028 F</c:v>
                </c:pt>
                <c:pt idx="13">
                  <c:v>2029 F</c:v>
                </c:pt>
                <c:pt idx="14">
                  <c:v>2030 F</c:v>
                </c:pt>
              </c:strCache>
            </c:strRef>
          </c:cat>
          <c:val>
            <c:numRef>
              <c:f>MEX!$E$27:$E$41</c:f>
              <c:numCache>
                <c:formatCode>0</c:formatCode>
                <c:ptCount val="15"/>
                <c:pt idx="0">
                  <c:v>1601</c:v>
                </c:pt>
                <c:pt idx="1">
                  <c:v>1516</c:v>
                </c:pt>
                <c:pt idx="2">
                  <c:v>1402</c:v>
                </c:pt>
                <c:pt idx="3">
                  <c:v>1281</c:v>
                </c:pt>
                <c:pt idx="4">
                  <c:v>922</c:v>
                </c:pt>
                <c:pt idx="5">
                  <c:v>958</c:v>
                </c:pt>
                <c:pt idx="6">
                  <c:v>1029</c:v>
                </c:pt>
                <c:pt idx="7">
                  <c:v>1231</c:v>
                </c:pt>
                <c:pt idx="8">
                  <c:v>1310</c:v>
                </c:pt>
                <c:pt idx="9" formatCode="0.00">
                  <c:v>1291.8140000000001</c:v>
                </c:pt>
                <c:pt idx="10" formatCode="0.00">
                  <c:v>1315.8510000000001</c:v>
                </c:pt>
                <c:pt idx="11" formatCode="0.00">
                  <c:v>1323.91</c:v>
                </c:pt>
                <c:pt idx="12" formatCode="0.00">
                  <c:v>1317.94</c:v>
                </c:pt>
                <c:pt idx="13" formatCode="0.00">
                  <c:v>1312.0740000000001</c:v>
                </c:pt>
                <c:pt idx="14" formatCode="0.00">
                  <c:v>1307.8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E0-4BC5-B03C-4F35F3B62598}"/>
            </c:ext>
          </c:extLst>
        </c:ser>
        <c:ser>
          <c:idx val="0"/>
          <c:order val="1"/>
          <c:tx>
            <c:strRef>
              <c:f>MEX!$C$26</c:f>
              <c:strCache>
                <c:ptCount val="1"/>
                <c:pt idx="0">
                  <c:v>EV´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_(* #,##0.0_);_(* \(#,##0.0\);_(* &quot;-&quot;?_);_(@_)" sourceLinked="0"/>
            <c:spPr>
              <a:solidFill>
                <a:schemeClr val="accent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highlight>
                      <a:srgbClr val="00FF00"/>
                    </a:highlight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EX!$B$27:$B$41</c:f>
              <c:strCach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 F</c:v>
                </c:pt>
                <c:pt idx="10">
                  <c:v>2026 F</c:v>
                </c:pt>
                <c:pt idx="11">
                  <c:v>2027 F</c:v>
                </c:pt>
                <c:pt idx="12">
                  <c:v>2028 F</c:v>
                </c:pt>
                <c:pt idx="13">
                  <c:v>2029 F</c:v>
                </c:pt>
                <c:pt idx="14">
                  <c:v>2030 F</c:v>
                </c:pt>
              </c:strCache>
            </c:strRef>
          </c:cat>
          <c:val>
            <c:numRef>
              <c:f>MEX!$C$27:$C$41</c:f>
              <c:numCache>
                <c:formatCode>0.00</c:formatCode>
                <c:ptCount val="15"/>
                <c:pt idx="0">
                  <c:v>0.28999999999999998</c:v>
                </c:pt>
                <c:pt idx="1">
                  <c:v>0.28999999999999998</c:v>
                </c:pt>
                <c:pt idx="2">
                  <c:v>0.26</c:v>
                </c:pt>
                <c:pt idx="3">
                  <c:v>0.47</c:v>
                </c:pt>
                <c:pt idx="4">
                  <c:v>0.71</c:v>
                </c:pt>
                <c:pt idx="5">
                  <c:v>1.5</c:v>
                </c:pt>
                <c:pt idx="6">
                  <c:v>5.63</c:v>
                </c:pt>
                <c:pt idx="7">
                  <c:v>14.05</c:v>
                </c:pt>
                <c:pt idx="8">
                  <c:v>24.28</c:v>
                </c:pt>
                <c:pt idx="9">
                  <c:v>59.92</c:v>
                </c:pt>
                <c:pt idx="10">
                  <c:v>75.662000000000006</c:v>
                </c:pt>
                <c:pt idx="11">
                  <c:v>90.69</c:v>
                </c:pt>
                <c:pt idx="12">
                  <c:v>121.723</c:v>
                </c:pt>
                <c:pt idx="13">
                  <c:v>137.18799999999999</c:v>
                </c:pt>
                <c:pt idx="14">
                  <c:v>157.47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F3-4E2B-BDFB-30069133052A}"/>
            </c:ext>
          </c:extLst>
        </c:ser>
        <c:ser>
          <c:idx val="1"/>
          <c:order val="2"/>
          <c:tx>
            <c:strRef>
              <c:f>MEX!$D$26</c:f>
              <c:strCache>
                <c:ptCount val="1"/>
                <c:pt idx="0">
                  <c:v>Hybrid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101418627191828E-3"/>
                  <c:y val="-2.630447177248916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4AD-47D7-A38D-3733F224EB37}"/>
                </c:ext>
              </c:extLst>
            </c:dLbl>
            <c:dLbl>
              <c:idx val="1"/>
              <c:layout>
                <c:manualLayout>
                  <c:x val="0"/>
                  <c:y val="-3.565466067677867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4AD-47D7-A38D-3733F224EB37}"/>
                </c:ext>
              </c:extLst>
            </c:dLbl>
            <c:dLbl>
              <c:idx val="2"/>
              <c:layout>
                <c:manualLayout>
                  <c:x val="2.019244156704202E-17"/>
                  <c:y val="-2.211822656063127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4AD-47D7-A38D-3733F224EB37}"/>
                </c:ext>
              </c:extLst>
            </c:dLbl>
            <c:dLbl>
              <c:idx val="3"/>
              <c:layout>
                <c:manualLayout>
                  <c:x val="0"/>
                  <c:y val="-3.829858346358390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4AD-47D7-A38D-3733F224EB37}"/>
                </c:ext>
              </c:extLst>
            </c:dLbl>
            <c:dLbl>
              <c:idx val="4"/>
              <c:layout>
                <c:manualLayout>
                  <c:x val="1.1014186271917827E-3"/>
                  <c:y val="-4.878150179729406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4AD-47D7-A38D-3733F224EB37}"/>
                </c:ext>
              </c:extLst>
            </c:dLbl>
            <c:dLbl>
              <c:idx val="5"/>
              <c:layout>
                <c:manualLayout>
                  <c:x val="-8.076976626816808E-17"/>
                  <c:y val="-4.969161743358858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4DA-486D-BFA7-3C1107D03CB4}"/>
                </c:ext>
              </c:extLst>
            </c:dLbl>
            <c:dLbl>
              <c:idx val="6"/>
              <c:layout>
                <c:manualLayout>
                  <c:x val="2.2028372543836461E-3"/>
                  <c:y val="-5.516214148325092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4DA-486D-BFA7-3C1107D03CB4}"/>
                </c:ext>
              </c:extLst>
            </c:dLbl>
            <c:dLbl>
              <c:idx val="7"/>
              <c:layout>
                <c:manualLayout>
                  <c:x val="-8.076976626816808E-17"/>
                  <c:y val="-3.75344877302322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785-4EFF-9791-7C46A7EFB628}"/>
                </c:ext>
              </c:extLst>
            </c:dLbl>
            <c:dLbl>
              <c:idx val="8"/>
              <c:layout>
                <c:manualLayout>
                  <c:x val="-2.2028372543836461E-3"/>
                  <c:y val="-1.537489227704214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4DA-486D-BFA7-3C1107D03CB4}"/>
                </c:ext>
              </c:extLst>
            </c:dLbl>
            <c:numFmt formatCode="_(* #,##0.0_);_(* \(#,##0.0\);_(* &quot;-&quot;?_);_(@_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pPr>
                <a:endParaRPr lang="es-MX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EX!$B$27:$B$41</c:f>
              <c:strCach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 F</c:v>
                </c:pt>
                <c:pt idx="10">
                  <c:v>2026 F</c:v>
                </c:pt>
                <c:pt idx="11">
                  <c:v>2027 F</c:v>
                </c:pt>
                <c:pt idx="12">
                  <c:v>2028 F</c:v>
                </c:pt>
                <c:pt idx="13">
                  <c:v>2029 F</c:v>
                </c:pt>
                <c:pt idx="14">
                  <c:v>2030 F</c:v>
                </c:pt>
              </c:strCache>
            </c:strRef>
          </c:cat>
          <c:val>
            <c:numRef>
              <c:f>MEX!$D$27:$D$41</c:f>
              <c:numCache>
                <c:formatCode>0.0</c:formatCode>
                <c:ptCount val="15"/>
                <c:pt idx="0">
                  <c:v>7.3</c:v>
                </c:pt>
                <c:pt idx="1">
                  <c:v>10.4</c:v>
                </c:pt>
                <c:pt idx="2">
                  <c:v>17.600000000000001</c:v>
                </c:pt>
                <c:pt idx="3">
                  <c:v>27.8</c:v>
                </c:pt>
                <c:pt idx="4">
                  <c:v>21.7</c:v>
                </c:pt>
                <c:pt idx="5">
                  <c:v>44.2</c:v>
                </c:pt>
                <c:pt idx="6">
                  <c:v>45.4</c:v>
                </c:pt>
                <c:pt idx="7">
                  <c:v>59.6</c:v>
                </c:pt>
                <c:pt idx="8">
                  <c:v>100.02</c:v>
                </c:pt>
                <c:pt idx="9" formatCode="0.00">
                  <c:v>120.566</c:v>
                </c:pt>
                <c:pt idx="10" formatCode="0.00">
                  <c:v>121.93</c:v>
                </c:pt>
                <c:pt idx="11" formatCode="0.00">
                  <c:v>134.376</c:v>
                </c:pt>
                <c:pt idx="12" formatCode="0.00">
                  <c:v>148.96199999999999</c:v>
                </c:pt>
                <c:pt idx="13" formatCode="0.00">
                  <c:v>163.398</c:v>
                </c:pt>
                <c:pt idx="14" formatCode="0.00">
                  <c:v>169.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F3-4E2B-BDFB-3006913305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74725488"/>
        <c:axId val="952177312"/>
      </c:barChart>
      <c:catAx>
        <c:axId val="974725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pPr>
            <a:endParaRPr lang="es-MX"/>
          </a:p>
        </c:txPr>
        <c:crossAx val="952177312"/>
        <c:crosses val="autoZero"/>
        <c:auto val="1"/>
        <c:lblAlgn val="ctr"/>
        <c:lblOffset val="100"/>
        <c:noMultiLvlLbl val="0"/>
      </c:catAx>
      <c:valAx>
        <c:axId val="952177312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974725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23105751255605E-2"/>
          <c:y val="5.4797567367225533E-2"/>
          <c:w val="0.96775384527316266"/>
          <c:h val="0.8375190203063895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j-lt"/>
                    <a:ea typeface="Roboto Light" panose="02000000000000000000" pitchFamily="2" charset="0"/>
                    <a:cs typeface="+mn-cs"/>
                  </a:defRPr>
                </a:pPr>
                <a:endParaRPr lang="es-MX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57150" cap="rnd">
                <a:solidFill>
                  <a:srgbClr val="FF0000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'Precio Promedio'!$B$2:$V$2</c:f>
              <c:numCache>
                <c:formatCode>General</c:formatCode>
                <c:ptCount val="2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</c:numCache>
            </c:numRef>
          </c:cat>
          <c:val>
            <c:numRef>
              <c:f>'Precio Promedio'!$B$3:$V$3</c:f>
              <c:numCache>
                <c:formatCode>General</c:formatCode>
                <c:ptCount val="21"/>
                <c:pt idx="0">
                  <c:v>161</c:v>
                </c:pt>
                <c:pt idx="1">
                  <c:v>173</c:v>
                </c:pt>
                <c:pt idx="2">
                  <c:v>190</c:v>
                </c:pt>
                <c:pt idx="3">
                  <c:v>191</c:v>
                </c:pt>
                <c:pt idx="4">
                  <c:v>200</c:v>
                </c:pt>
                <c:pt idx="5">
                  <c:v>228</c:v>
                </c:pt>
                <c:pt idx="6">
                  <c:v>227</c:v>
                </c:pt>
                <c:pt idx="7">
                  <c:v>215</c:v>
                </c:pt>
                <c:pt idx="8">
                  <c:v>238</c:v>
                </c:pt>
                <c:pt idx="9">
                  <c:v>249</c:v>
                </c:pt>
                <c:pt idx="10">
                  <c:v>266</c:v>
                </c:pt>
                <c:pt idx="11">
                  <c:v>258</c:v>
                </c:pt>
                <c:pt idx="12">
                  <c:v>283</c:v>
                </c:pt>
                <c:pt idx="13">
                  <c:v>296</c:v>
                </c:pt>
                <c:pt idx="14">
                  <c:v>310</c:v>
                </c:pt>
                <c:pt idx="15">
                  <c:v>328</c:v>
                </c:pt>
                <c:pt idx="16">
                  <c:v>348</c:v>
                </c:pt>
                <c:pt idx="17">
                  <c:v>399</c:v>
                </c:pt>
                <c:pt idx="18">
                  <c:v>464</c:v>
                </c:pt>
                <c:pt idx="19">
                  <c:v>516</c:v>
                </c:pt>
                <c:pt idx="20">
                  <c:v>5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A5-49E5-9589-03572593E81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42035727"/>
        <c:axId val="142036143"/>
      </c:barChart>
      <c:catAx>
        <c:axId val="1420357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pPr>
            <a:endParaRPr lang="es-MX"/>
          </a:p>
        </c:txPr>
        <c:crossAx val="142036143"/>
        <c:crosses val="autoZero"/>
        <c:auto val="1"/>
        <c:lblAlgn val="ctr"/>
        <c:lblOffset val="100"/>
        <c:noMultiLvlLbl val="0"/>
      </c:catAx>
      <c:valAx>
        <c:axId val="14203614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2035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050504119944006E-2"/>
          <c:y val="7.1040781635056727E-2"/>
          <c:w val="0.97589899176011197"/>
          <c:h val="0.8484726439124845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j-lt"/>
                    <a:ea typeface="Roboto Light" panose="02000000000000000000" pitchFamily="2" charset="0"/>
                    <a:cs typeface="+mn-cs"/>
                  </a:defRPr>
                </a:pPr>
                <a:endParaRPr lang="es-MX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57150" cap="rnd">
                <a:solidFill>
                  <a:srgbClr val="FF0000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Hoja1!$B$2:$V$2</c:f>
              <c:numCache>
                <c:formatCode>General</c:formatCode>
                <c:ptCount val="2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</c:numCache>
            </c:numRef>
          </c:cat>
          <c:val>
            <c:numRef>
              <c:f>Hoja1!$B$3:$V$3</c:f>
              <c:numCache>
                <c:formatCode>_-"$"* #,##0_-;\-"$"* #,##0_-;_-"$"* "-"??_-;_-@_-</c:formatCode>
                <c:ptCount val="21"/>
                <c:pt idx="0">
                  <c:v>1853</c:v>
                </c:pt>
                <c:pt idx="1">
                  <c:v>1903</c:v>
                </c:pt>
                <c:pt idx="2">
                  <c:v>1541</c:v>
                </c:pt>
                <c:pt idx="3">
                  <c:v>1589</c:v>
                </c:pt>
                <c:pt idx="4">
                  <c:v>1641</c:v>
                </c:pt>
                <c:pt idx="5">
                  <c:v>2254</c:v>
                </c:pt>
                <c:pt idx="6">
                  <c:v>2541</c:v>
                </c:pt>
                <c:pt idx="7">
                  <c:v>2418</c:v>
                </c:pt>
                <c:pt idx="8">
                  <c:v>2657</c:v>
                </c:pt>
                <c:pt idx="9">
                  <c:v>2433</c:v>
                </c:pt>
                <c:pt idx="10">
                  <c:v>2601</c:v>
                </c:pt>
                <c:pt idx="11">
                  <c:v>2128</c:v>
                </c:pt>
                <c:pt idx="12">
                  <c:v>2496</c:v>
                </c:pt>
                <c:pt idx="13">
                  <c:v>2589</c:v>
                </c:pt>
                <c:pt idx="14">
                  <c:v>2759</c:v>
                </c:pt>
                <c:pt idx="15">
                  <c:v>2892.5904927815</c:v>
                </c:pt>
                <c:pt idx="16">
                  <c:v>3026</c:v>
                </c:pt>
                <c:pt idx="17">
                  <c:v>3445</c:v>
                </c:pt>
                <c:pt idx="18">
                  <c:v>3005</c:v>
                </c:pt>
                <c:pt idx="19">
                  <c:v>2955</c:v>
                </c:pt>
                <c:pt idx="20">
                  <c:v>3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27-405D-81A9-21977371D0B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39830464"/>
        <c:axId val="39845344"/>
      </c:barChart>
      <c:catAx>
        <c:axId val="39830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39845344"/>
        <c:crosses val="autoZero"/>
        <c:auto val="1"/>
        <c:lblAlgn val="ctr"/>
        <c:lblOffset val="100"/>
        <c:noMultiLvlLbl val="0"/>
      </c:catAx>
      <c:valAx>
        <c:axId val="39845344"/>
        <c:scaling>
          <c:orientation val="minMax"/>
        </c:scaling>
        <c:delete val="1"/>
        <c:axPos val="l"/>
        <c:numFmt formatCode="_-&quot;$&quot;* #,##0_-;\-&quot;$&quot;* #,##0_-;_-&quot;$&quot;* &quot;-&quot;??_-;_-@_-" sourceLinked="1"/>
        <c:majorTickMark val="none"/>
        <c:minorTickMark val="none"/>
        <c:tickLblPos val="nextTo"/>
        <c:crossAx val="39830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s-MX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8527</cdr:y>
    </cdr:from>
    <cdr:to>
      <cdr:x>0.0884</cdr:x>
      <cdr:y>0.98636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2A414242-F3C8-100A-336E-4938DDE3FAA3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-585538" y="383075"/>
          <a:ext cx="515031" cy="4048202"/>
        </a:xfrm>
        <a:prstGeom xmlns:a="http://schemas.openxmlformats.org/drawingml/2006/main" prst="rect">
          <a:avLst/>
        </a:prstGeom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0074</cdr:x>
      <cdr:y>0.94863</cdr:y>
    </cdr:from>
    <cdr:to>
      <cdr:x>1</cdr:x>
      <cdr:y>1</cdr:y>
    </cdr:to>
    <cdr:sp macro="" textlink="">
      <cdr:nvSpPr>
        <cdr:cNvPr id="2" name="Footer Placeholder 2">
          <a:extLst xmlns:a="http://schemas.openxmlformats.org/drawingml/2006/main">
            <a:ext uri="{FF2B5EF4-FFF2-40B4-BE49-F238E27FC236}">
              <a16:creationId xmlns:a16="http://schemas.microsoft.com/office/drawing/2014/main" id="{B9AC1E7B-763E-0C86-882E-EEACC16F0C03}"/>
            </a:ext>
          </a:extLst>
        </cdr:cNvPr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385763" y="6324600"/>
          <a:ext cx="11522073" cy="2508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lIns="0" tIns="45720" rIns="0" bIns="45720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000" kern="1200">
              <a:solidFill>
                <a:schemeClr val="tx2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dirty="0" err="1"/>
            <a:t>Source</a:t>
          </a:r>
          <a:r>
            <a:rPr lang="es-ES" dirty="0"/>
            <a:t>: INEGI &amp; </a:t>
          </a:r>
          <a:r>
            <a:rPr lang="es-ES" dirty="0" err="1"/>
            <a:t>GlobalData</a:t>
          </a:r>
          <a:endParaRPr lang="en-US" dirty="0"/>
        </a:p>
      </cdr:txBody>
    </cdr:sp>
  </cdr:relSizeAnchor>
  <cdr:relSizeAnchor xmlns:cdr="http://schemas.openxmlformats.org/drawingml/2006/chartDrawing">
    <cdr:from>
      <cdr:x>0.93353</cdr:x>
      <cdr:y>0.12783</cdr:y>
    </cdr:from>
    <cdr:to>
      <cdr:x>0.98258</cdr:x>
      <cdr:y>0.19717</cdr:y>
    </cdr:to>
    <cdr:sp macro="" textlink="">
      <cdr:nvSpPr>
        <cdr:cNvPr id="3" name="CuadroTexto 2">
          <a:extLst xmlns:a="http://schemas.openxmlformats.org/drawingml/2006/main">
            <a:ext uri="{FF2B5EF4-FFF2-40B4-BE49-F238E27FC236}">
              <a16:creationId xmlns:a16="http://schemas.microsoft.com/office/drawing/2014/main" id="{E1DC21E3-C0B0-C7E7-3C68-E913D3C2016F}"/>
            </a:ext>
          </a:extLst>
        </cdr:cNvPr>
        <cdr:cNvSpPr txBox="1"/>
      </cdr:nvSpPr>
      <cdr:spPr>
        <a:xfrm xmlns:a="http://schemas.openxmlformats.org/drawingml/2006/main">
          <a:off x="10764174" y="624162"/>
          <a:ext cx="565575" cy="3385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MX" sz="1400" b="1" dirty="0">
              <a:solidFill>
                <a:srgbClr val="FF0000"/>
              </a:solidFill>
            </a:rPr>
            <a:t>63</a:t>
          </a:r>
          <a:r>
            <a:rPr lang="es-MX" sz="1600" b="1" dirty="0">
              <a:solidFill>
                <a:srgbClr val="FF0000"/>
              </a:solidFill>
            </a:rPr>
            <a:t>%</a:t>
          </a:r>
          <a:endParaRPr lang="en-US" sz="16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4034</cdr:x>
      <cdr:y>0.20362</cdr:y>
    </cdr:from>
    <cdr:to>
      <cdr:x>0.61087</cdr:x>
      <cdr:y>0.27295</cdr:y>
    </cdr:to>
    <cdr:sp macro="" textlink="">
      <cdr:nvSpPr>
        <cdr:cNvPr id="4" name="CuadroTexto 1">
          <a:extLst xmlns:a="http://schemas.openxmlformats.org/drawingml/2006/main">
            <a:ext uri="{FF2B5EF4-FFF2-40B4-BE49-F238E27FC236}">
              <a16:creationId xmlns:a16="http://schemas.microsoft.com/office/drawing/2014/main" id="{6E568E3F-26FC-E99A-BF44-FB5569AD3446}"/>
            </a:ext>
          </a:extLst>
        </cdr:cNvPr>
        <cdr:cNvSpPr txBox="1"/>
      </cdr:nvSpPr>
      <cdr:spPr>
        <a:xfrm xmlns:a="http://schemas.openxmlformats.org/drawingml/2006/main">
          <a:off x="6230393" y="994238"/>
          <a:ext cx="813258" cy="33855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400" b="1" dirty="0">
              <a:solidFill>
                <a:srgbClr val="FF0000"/>
              </a:solidFill>
            </a:rPr>
            <a:t>34</a:t>
          </a:r>
          <a:r>
            <a:rPr lang="es-MX" sz="1600" b="1" dirty="0">
              <a:solidFill>
                <a:srgbClr val="FF0000"/>
              </a:solidFill>
            </a:rPr>
            <a:t>%</a:t>
          </a:r>
          <a:endParaRPr lang="en-US" sz="16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60938</cdr:x>
      <cdr:y>0.20423</cdr:y>
    </cdr:from>
    <cdr:to>
      <cdr:x>0.67991</cdr:x>
      <cdr:y>0.27356</cdr:y>
    </cdr:to>
    <cdr:sp macro="" textlink="">
      <cdr:nvSpPr>
        <cdr:cNvPr id="5" name="CuadroTexto 1">
          <a:extLst xmlns:a="http://schemas.openxmlformats.org/drawingml/2006/main">
            <a:ext uri="{FF2B5EF4-FFF2-40B4-BE49-F238E27FC236}">
              <a16:creationId xmlns:a16="http://schemas.microsoft.com/office/drawing/2014/main" id="{7F174129-4D92-46F2-EB31-E4B4942B41C8}"/>
            </a:ext>
          </a:extLst>
        </cdr:cNvPr>
        <cdr:cNvSpPr txBox="1"/>
      </cdr:nvSpPr>
      <cdr:spPr>
        <a:xfrm xmlns:a="http://schemas.openxmlformats.org/drawingml/2006/main">
          <a:off x="7026493" y="997245"/>
          <a:ext cx="813252" cy="3385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400" b="1" dirty="0">
              <a:solidFill>
                <a:srgbClr val="FF0000"/>
              </a:solidFill>
            </a:rPr>
            <a:t>40</a:t>
          </a:r>
          <a:r>
            <a:rPr lang="es-MX" sz="1600" b="1" dirty="0">
              <a:solidFill>
                <a:srgbClr val="FF0000"/>
              </a:solidFill>
            </a:rPr>
            <a:t>%</a:t>
          </a:r>
          <a:endParaRPr lang="en-US" sz="1600" b="1" dirty="0">
            <a:solidFill>
              <a:srgbClr val="FF0000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0074</cdr:x>
      <cdr:y>0.94863</cdr:y>
    </cdr:from>
    <cdr:to>
      <cdr:x>1</cdr:x>
      <cdr:y>1</cdr:y>
    </cdr:to>
    <cdr:sp macro="" textlink="">
      <cdr:nvSpPr>
        <cdr:cNvPr id="2" name="Footer Placeholder 2">
          <a:extLst xmlns:a="http://schemas.openxmlformats.org/drawingml/2006/main">
            <a:ext uri="{FF2B5EF4-FFF2-40B4-BE49-F238E27FC236}">
              <a16:creationId xmlns:a16="http://schemas.microsoft.com/office/drawing/2014/main" id="{B9AC1E7B-763E-0C86-882E-EEACC16F0C03}"/>
            </a:ext>
          </a:extLst>
        </cdr:cNvPr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385763" y="6324600"/>
          <a:ext cx="11522073" cy="2508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lIns="0" tIns="45720" rIns="0" bIns="45720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000" kern="1200">
              <a:solidFill>
                <a:schemeClr val="tx2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dirty="0" err="1"/>
            <a:t>Source</a:t>
          </a:r>
          <a:r>
            <a:rPr lang="es-ES" dirty="0"/>
            <a:t>: INEGI &amp; </a:t>
          </a:r>
          <a:r>
            <a:rPr lang="es-ES" dirty="0" err="1"/>
            <a:t>GlobalData</a:t>
          </a:r>
          <a:endParaRPr lang="en-US" dirty="0"/>
        </a:p>
      </cdr:txBody>
    </cdr:sp>
  </cdr:relSizeAnchor>
  <cdr:relSizeAnchor xmlns:cdr="http://schemas.openxmlformats.org/drawingml/2006/chartDrawing">
    <cdr:from>
      <cdr:x>0.54431</cdr:x>
      <cdr:y>0.14902</cdr:y>
    </cdr:from>
    <cdr:to>
      <cdr:x>0.59336</cdr:x>
      <cdr:y>0.21836</cdr:y>
    </cdr:to>
    <cdr:sp macro="" textlink="">
      <cdr:nvSpPr>
        <cdr:cNvPr id="3" name="CuadroTexto 2">
          <a:extLst xmlns:a="http://schemas.openxmlformats.org/drawingml/2006/main">
            <a:ext uri="{FF2B5EF4-FFF2-40B4-BE49-F238E27FC236}">
              <a16:creationId xmlns:a16="http://schemas.microsoft.com/office/drawing/2014/main" id="{E1DC21E3-C0B0-C7E7-3C68-E913D3C2016F}"/>
            </a:ext>
          </a:extLst>
        </cdr:cNvPr>
        <cdr:cNvSpPr txBox="1"/>
      </cdr:nvSpPr>
      <cdr:spPr>
        <a:xfrm xmlns:a="http://schemas.openxmlformats.org/drawingml/2006/main">
          <a:off x="6276262" y="727628"/>
          <a:ext cx="565575" cy="3385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MX" sz="1400" b="1" dirty="0">
              <a:solidFill>
                <a:srgbClr val="FF0000"/>
              </a:solidFill>
            </a:rPr>
            <a:t>9</a:t>
          </a:r>
          <a:r>
            <a:rPr lang="es-MX" sz="1600" b="1" dirty="0">
              <a:solidFill>
                <a:srgbClr val="FF0000"/>
              </a:solidFill>
            </a:rPr>
            <a:t>%</a:t>
          </a:r>
          <a:endParaRPr lang="en-US" sz="16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60111</cdr:x>
      <cdr:y>0.10966</cdr:y>
    </cdr:from>
    <cdr:to>
      <cdr:x>0.67164</cdr:x>
      <cdr:y>0.17899</cdr:y>
    </cdr:to>
    <cdr:sp macro="" textlink="">
      <cdr:nvSpPr>
        <cdr:cNvPr id="4" name="CuadroTexto 1">
          <a:extLst xmlns:a="http://schemas.openxmlformats.org/drawingml/2006/main">
            <a:ext uri="{FF2B5EF4-FFF2-40B4-BE49-F238E27FC236}">
              <a16:creationId xmlns:a16="http://schemas.microsoft.com/office/drawing/2014/main" id="{6E568E3F-26FC-E99A-BF44-FB5569AD3446}"/>
            </a:ext>
          </a:extLst>
        </cdr:cNvPr>
        <cdr:cNvSpPr txBox="1"/>
      </cdr:nvSpPr>
      <cdr:spPr>
        <a:xfrm xmlns:a="http://schemas.openxmlformats.org/drawingml/2006/main">
          <a:off x="6931146" y="535450"/>
          <a:ext cx="813252" cy="3385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400" b="1" dirty="0">
              <a:solidFill>
                <a:srgbClr val="FF0000"/>
              </a:solidFill>
            </a:rPr>
            <a:t>12.3</a:t>
          </a:r>
          <a:r>
            <a:rPr lang="es-MX" sz="1600" b="1" dirty="0">
              <a:solidFill>
                <a:srgbClr val="FF0000"/>
              </a:solidFill>
            </a:rPr>
            <a:t>%</a:t>
          </a:r>
          <a:endParaRPr lang="en-US" sz="16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92947</cdr:x>
      <cdr:y>0.04252</cdr:y>
    </cdr:from>
    <cdr:to>
      <cdr:x>1</cdr:x>
      <cdr:y>0.11185</cdr:y>
    </cdr:to>
    <cdr:sp macro="" textlink="">
      <cdr:nvSpPr>
        <cdr:cNvPr id="5" name="CuadroTexto 1">
          <a:extLst xmlns:a="http://schemas.openxmlformats.org/drawingml/2006/main">
            <a:ext uri="{FF2B5EF4-FFF2-40B4-BE49-F238E27FC236}">
              <a16:creationId xmlns:a16="http://schemas.microsoft.com/office/drawing/2014/main" id="{F0829163-8440-A254-16CF-BB72C3D262BE}"/>
            </a:ext>
          </a:extLst>
        </cdr:cNvPr>
        <cdr:cNvSpPr txBox="1"/>
      </cdr:nvSpPr>
      <cdr:spPr>
        <a:xfrm xmlns:a="http://schemas.openxmlformats.org/drawingml/2006/main">
          <a:off x="10717332" y="207597"/>
          <a:ext cx="813252" cy="3385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400" b="1" dirty="0">
              <a:solidFill>
                <a:srgbClr val="FF0000"/>
              </a:solidFill>
            </a:rPr>
            <a:t>20</a:t>
          </a:r>
          <a:r>
            <a:rPr lang="es-MX" sz="1600" b="1" dirty="0">
              <a:solidFill>
                <a:srgbClr val="FF0000"/>
              </a:solidFill>
            </a:rPr>
            <a:t>%</a:t>
          </a:r>
          <a:endParaRPr lang="en-US" sz="1600" b="1" dirty="0">
            <a:solidFill>
              <a:srgbClr val="FF0000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445EA79-59FA-2D4E-AE10-235C50A5B46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F07FA2-C994-7B42-BA6F-1BB8177D1EC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3785F-6D54-FA47-91B3-A80D581D448C}" type="datetimeFigureOut">
              <a:rPr lang="en-US" smtClean="0"/>
              <a:t>10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B35A38-8DEE-DC4A-B51F-80DF9DA79E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37B896-CE47-6C46-A118-225BBEE174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5AD347-D140-1043-BC3F-738061939FD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772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39.077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4'3,"1"0,-1 0,1 0,-1 0,1-1,0 0,0 0,0 0,0-1,1 1,4-1,17 6,38 14,152 45,-150-49,88 12,-44-21,157-8,-122-4,-123 4,0-1,-1-1,1-1,-1-1,0-1,0-1,31-12,-34 11,0 1,1 1,0 1,-1 1,1 1,0 0,24 2,26-3,-51 1,-1-1,20-6,29-5,-8 8,0 4,93 7,-125-1,27 7,-29-5,32 4,9-4,84 20,-148-25,31 5,-19-8,-14 2,0-1,0 1,0 0,1-1,-1 1,0 0,0 0,0-1,0 1,0 0,1-1,-1 1,0 0,0 0,0-1,0 1,0 0,0-1,0 1,0 0,0-1,0 1,0 0,-1-1,1 1,0 0,0-1,0 1,0 0,0 0,-1-1,1 1,0 0,0 0,0-1,-1 1,-2-3,-1 0,1 0,-1 0,0 0,0 1,0-1,0 1,0 0,-1 1,1-1,-6-1,7 2,-38-1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55.623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35 0,'-6'0,"-7"0,-2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56.079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254 6,'-787'0,"764"1,0 1,0 2,-25 6,22-4,-50 5,75-11,-113 2,102-3,0 0,0-1,0 0,0-1,1 0,0-1,-17-8,5-1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56.882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4:00.943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41.260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41.665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41.981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92 1,'-5'0,"-9"0,-6 0,-7 0,2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42.264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43.807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5'0,"0"1,-1 0,1 0,0 1,-1-1,8 4,15 5,-12-7,208 46,-152-36,86 2,407-11,-315-6,20 20,-29 0,-83-2,-5 1,203-17,-162-1,-164 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46.892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248,'26'-1,"0"0,0-2,0-1,-1-1,1-1,-1-1,0-1,-1-1,42-23,29-25,11-6,-91 55,1 1,0 0,1 2,0 0,18-3,30 1,0 3,78 5,-76 0,516 5,-534-4,0 3,86 20,18 2,197-17,-281-11,-54 1,-1 1,0 1,1 0,-1 1,20 7,67 31,-2-1,-51-27,95 13,-134-25,37 8,-43-8,0 0,0 0,0 0,0 0,0 0,0 1,0-1,0 1,4 4,-7-4,-6-2,-15-4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47.449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8T23:13:55.296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0'6,"0"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Shape 346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47" name="Shape 34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914377" latinLnBrk="0">
      <a:defRPr sz="1200">
        <a:latin typeface="+mn-lt"/>
        <a:ea typeface="+mn-ea"/>
        <a:cs typeface="+mn-cs"/>
        <a:sym typeface="Calibri"/>
      </a:defRPr>
    </a:lvl1pPr>
    <a:lvl2pPr indent="304792" defTabSz="914377" latinLnBrk="0">
      <a:defRPr sz="1200">
        <a:latin typeface="+mn-lt"/>
        <a:ea typeface="+mn-ea"/>
        <a:cs typeface="+mn-cs"/>
        <a:sym typeface="Calibri"/>
      </a:defRPr>
    </a:lvl2pPr>
    <a:lvl3pPr indent="609585" defTabSz="914377" latinLnBrk="0">
      <a:defRPr sz="1200">
        <a:latin typeface="+mn-lt"/>
        <a:ea typeface="+mn-ea"/>
        <a:cs typeface="+mn-cs"/>
        <a:sym typeface="Calibri"/>
      </a:defRPr>
    </a:lvl3pPr>
    <a:lvl4pPr indent="914377" defTabSz="914377" latinLnBrk="0">
      <a:defRPr sz="1200">
        <a:latin typeface="+mn-lt"/>
        <a:ea typeface="+mn-ea"/>
        <a:cs typeface="+mn-cs"/>
        <a:sym typeface="Calibri"/>
      </a:defRPr>
    </a:lvl4pPr>
    <a:lvl5pPr indent="1219170" defTabSz="914377" latinLnBrk="0">
      <a:defRPr sz="1200">
        <a:latin typeface="+mn-lt"/>
        <a:ea typeface="+mn-ea"/>
        <a:cs typeface="+mn-cs"/>
        <a:sym typeface="Calibri"/>
      </a:defRPr>
    </a:lvl5pPr>
    <a:lvl6pPr indent="1523962" defTabSz="914377" latinLnBrk="0">
      <a:defRPr sz="1200">
        <a:latin typeface="+mn-lt"/>
        <a:ea typeface="+mn-ea"/>
        <a:cs typeface="+mn-cs"/>
        <a:sym typeface="Calibri"/>
      </a:defRPr>
    </a:lvl6pPr>
    <a:lvl7pPr indent="1828754" defTabSz="914377" latinLnBrk="0">
      <a:defRPr sz="1200">
        <a:latin typeface="+mn-lt"/>
        <a:ea typeface="+mn-ea"/>
        <a:cs typeface="+mn-cs"/>
        <a:sym typeface="Calibri"/>
      </a:defRPr>
    </a:lvl7pPr>
    <a:lvl8pPr indent="2133547" defTabSz="914377" latinLnBrk="0">
      <a:defRPr sz="1200">
        <a:latin typeface="+mn-lt"/>
        <a:ea typeface="+mn-ea"/>
        <a:cs typeface="+mn-cs"/>
        <a:sym typeface="Calibri"/>
      </a:defRPr>
    </a:lvl8pPr>
    <a:lvl9pPr indent="2438339" defTabSz="914377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06B015-7581-2951-B220-3C2B7572E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D3097B8-C75D-DE0C-CC31-D94E435B9B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9544140B-C3AC-1008-AED2-C411FBD3AE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err="1"/>
              <a:t>Last</a:t>
            </a:r>
            <a:r>
              <a:rPr lang="es-MX"/>
              <a:t> </a:t>
            </a:r>
            <a:r>
              <a:rPr lang="es-MX" err="1"/>
              <a:t>year</a:t>
            </a:r>
            <a:r>
              <a:rPr lang="es-MX"/>
              <a:t> </a:t>
            </a:r>
            <a:r>
              <a:rPr lang="es-MX" err="1"/>
              <a:t>fcst</a:t>
            </a:r>
            <a:r>
              <a:rPr lang="es-MX"/>
              <a:t> shows 100M sales in 2028, </a:t>
            </a:r>
            <a:r>
              <a:rPr lang="es-MX" err="1"/>
              <a:t>now</a:t>
            </a:r>
            <a:r>
              <a:rPr lang="es-MX"/>
              <a:t> </a:t>
            </a:r>
            <a:r>
              <a:rPr lang="es-MX" err="1"/>
              <a:t>update</a:t>
            </a:r>
            <a:r>
              <a:rPr lang="es-MX"/>
              <a:t> to 2032</a:t>
            </a:r>
          </a:p>
        </p:txBody>
      </p:sp>
    </p:spTree>
    <p:extLst>
      <p:ext uri="{BB962C8B-B14F-4D97-AF65-F5344CB8AC3E}">
        <p14:creationId xmlns:p14="http://schemas.microsoft.com/office/powerpoint/2010/main" val="4042978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0E74B0-BD8C-8040-B148-CC5AB8DBAE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1749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B2F86C-5AD7-6988-FBA3-776654FAA0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BE251A4-D796-E47C-6BD0-2D7A2A8314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E6B7BBB-1B94-EC02-C88E-B8C180FB43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/>
              <a:t>Will </a:t>
            </a:r>
            <a:r>
              <a:rPr lang="es-MX" err="1"/>
              <a:t>growth</a:t>
            </a:r>
            <a:r>
              <a:rPr lang="es-MX"/>
              <a:t> </a:t>
            </a:r>
            <a:r>
              <a:rPr lang="es-MX" err="1"/>
              <a:t>production</a:t>
            </a:r>
            <a:r>
              <a:rPr lang="es-MX"/>
              <a:t> from MX and </a:t>
            </a:r>
            <a:r>
              <a:rPr lang="es-MX" err="1"/>
              <a:t>Brazil</a:t>
            </a:r>
            <a:r>
              <a:rPr lang="es-MX"/>
              <a:t> to 90% </a:t>
            </a:r>
            <a:r>
              <a:rPr lang="es-MX" err="1"/>
              <a:t>by</a:t>
            </a:r>
            <a:r>
              <a:rPr lang="es-MX"/>
              <a:t> 2032</a:t>
            </a:r>
          </a:p>
        </p:txBody>
      </p:sp>
    </p:spTree>
    <p:extLst>
      <p:ext uri="{BB962C8B-B14F-4D97-AF65-F5344CB8AC3E}">
        <p14:creationId xmlns:p14="http://schemas.microsoft.com/office/powerpoint/2010/main" val="12208578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/>
              <a:t>61 MODELOS EN 2016</a:t>
            </a:r>
          </a:p>
          <a:p>
            <a:r>
              <a:rPr lang="es-MX"/>
              <a:t>175 EN 2021</a:t>
            </a:r>
          </a:p>
          <a:p>
            <a:r>
              <a:rPr lang="es-MX"/>
              <a:t>515 EN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0882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/>
              <a:t>Mexico,  Brasil en 2030 será el 49%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8586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/>
              <a:t>Costo de </a:t>
            </a:r>
            <a:r>
              <a:rPr lang="es-MX" err="1"/>
              <a:t>servico</a:t>
            </a:r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0E74B0-BD8C-8040-B148-CC5AB8DBAE9A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5228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1880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 err="1"/>
              <a:t>Your</a:t>
            </a:r>
            <a:r>
              <a:rPr lang="es-MX" dirty="0"/>
              <a:t> </a:t>
            </a:r>
            <a:r>
              <a:rPr lang="es-MX" dirty="0" err="1"/>
              <a:t>business</a:t>
            </a:r>
            <a:r>
              <a:rPr lang="es-MX" dirty="0"/>
              <a:t> </a:t>
            </a:r>
            <a:r>
              <a:rPr lang="es-MX" dirty="0" err="1"/>
              <a:t>is</a:t>
            </a:r>
            <a:r>
              <a:rPr lang="es-MX" dirty="0"/>
              <a:t> as Good as </a:t>
            </a:r>
            <a:r>
              <a:rPr lang="es-MX" dirty="0" err="1"/>
              <a:t>your</a:t>
            </a:r>
            <a:r>
              <a:rPr lang="es-MX" dirty="0"/>
              <a:t> Used </a:t>
            </a:r>
            <a:r>
              <a:rPr lang="es-MX" dirty="0" err="1"/>
              <a:t>vehicle</a:t>
            </a:r>
            <a:r>
              <a:rPr lang="es-MX" dirty="0"/>
              <a:t> manager and </a:t>
            </a:r>
            <a:r>
              <a:rPr lang="es-MX" dirty="0" err="1"/>
              <a:t>experi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970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rgbClr val="000D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BAAB6A-D306-D3F1-2DE9-4F36449140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827F9-BFD4-8E4F-93F9-3E1714199AD5}" type="datetime1">
              <a:rPr lang="en-CA" smtClean="0"/>
              <a:t>2025-10-21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E5A444-97B4-20B7-A7EC-67E8807F9F7A}"/>
              </a:ext>
            </a:extLst>
          </p:cNvPr>
          <p:cNvSpPr/>
          <p:nvPr userDrawn="1"/>
        </p:nvSpPr>
        <p:spPr>
          <a:xfrm>
            <a:off x="339449" y="6541399"/>
            <a:ext cx="4356275" cy="27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© 2024 J.D. Power. All Rights Reserved. CONFIDENTIAL &amp; PROPRIETAR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A8CC6F1-164B-EA52-AADA-E4BCBA71F4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8632" y="6541399"/>
            <a:ext cx="348404" cy="316601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BAFA70EE-EF21-5645-B7EF-DF5EA44B88C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CFDCB0E-58E4-CD73-32A4-C01AA3ECFE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6273800"/>
            <a:ext cx="11522073" cy="2508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A97BDD4-8749-03D6-0ECE-97089C553D46}"/>
              </a:ext>
            </a:extLst>
          </p:cNvPr>
          <p:cNvGrpSpPr/>
          <p:nvPr userDrawn="1"/>
        </p:nvGrpSpPr>
        <p:grpSpPr>
          <a:xfrm>
            <a:off x="10196953" y="6633275"/>
            <a:ext cx="1253882" cy="133137"/>
            <a:chOff x="10196953" y="6633275"/>
            <a:chExt cx="1253882" cy="133137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6BF8A5A0-B14A-BBC7-2995-D01FC8DE0D60}"/>
                </a:ext>
              </a:extLst>
            </p:cNvPr>
            <p:cNvSpPr/>
            <p:nvPr/>
          </p:nvSpPr>
          <p:spPr>
            <a:xfrm>
              <a:off x="10196953" y="6634810"/>
              <a:ext cx="83366" cy="131596"/>
            </a:xfrm>
            <a:custGeom>
              <a:avLst/>
              <a:gdLst>
                <a:gd name="connsiteX0" fmla="*/ 25540 w 83366"/>
                <a:gd name="connsiteY0" fmla="*/ 95828 h 131596"/>
                <a:gd name="connsiteX1" fmla="*/ 42060 w 83366"/>
                <a:gd name="connsiteY1" fmla="*/ 110175 h 131596"/>
                <a:gd name="connsiteX2" fmla="*/ 57436 w 83366"/>
                <a:gd name="connsiteY2" fmla="*/ 95828 h 131596"/>
                <a:gd name="connsiteX3" fmla="*/ 57436 w 83366"/>
                <a:gd name="connsiteY3" fmla="*/ 4971 h 131596"/>
                <a:gd name="connsiteX4" fmla="*/ 62043 w 83366"/>
                <a:gd name="connsiteY4" fmla="*/ 0 h 131596"/>
                <a:gd name="connsiteX5" fmla="*/ 78754 w 83366"/>
                <a:gd name="connsiteY5" fmla="*/ 0 h 131596"/>
                <a:gd name="connsiteX6" fmla="*/ 83367 w 83366"/>
                <a:gd name="connsiteY6" fmla="*/ 4971 h 131596"/>
                <a:gd name="connsiteX7" fmla="*/ 83367 w 83366"/>
                <a:gd name="connsiteY7" fmla="*/ 100415 h 131596"/>
                <a:gd name="connsiteX8" fmla="*/ 42054 w 83366"/>
                <a:gd name="connsiteY8" fmla="*/ 131596 h 131596"/>
                <a:gd name="connsiteX9" fmla="*/ 0 w 83366"/>
                <a:gd name="connsiteY9" fmla="*/ 100415 h 131596"/>
                <a:gd name="connsiteX10" fmla="*/ 0 w 83366"/>
                <a:gd name="connsiteY10" fmla="*/ 88937 h 131596"/>
                <a:gd name="connsiteX11" fmla="*/ 4791 w 83366"/>
                <a:gd name="connsiteY11" fmla="*/ 84155 h 131596"/>
                <a:gd name="connsiteX12" fmla="*/ 20938 w 83366"/>
                <a:gd name="connsiteY12" fmla="*/ 84155 h 131596"/>
                <a:gd name="connsiteX13" fmla="*/ 25540 w 83366"/>
                <a:gd name="connsiteY13" fmla="*/ 88937 h 131596"/>
                <a:gd name="connsiteX14" fmla="*/ 25540 w 83366"/>
                <a:gd name="connsiteY14" fmla="*/ 95828 h 13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3366" h="131596">
                  <a:moveTo>
                    <a:pt x="25540" y="95828"/>
                  </a:moveTo>
                  <a:cubicBezTo>
                    <a:pt x="25540" y="105387"/>
                    <a:pt x="30740" y="110175"/>
                    <a:pt x="42060" y="110175"/>
                  </a:cubicBezTo>
                  <a:cubicBezTo>
                    <a:pt x="53380" y="110175"/>
                    <a:pt x="57436" y="105387"/>
                    <a:pt x="57436" y="95828"/>
                  </a:cubicBezTo>
                  <a:lnTo>
                    <a:pt x="57436" y="4971"/>
                  </a:lnTo>
                  <a:cubicBezTo>
                    <a:pt x="57436" y="1523"/>
                    <a:pt x="58776" y="0"/>
                    <a:pt x="62043" y="0"/>
                  </a:cubicBezTo>
                  <a:lnTo>
                    <a:pt x="78754" y="0"/>
                  </a:lnTo>
                  <a:cubicBezTo>
                    <a:pt x="82211" y="0"/>
                    <a:pt x="83367" y="1523"/>
                    <a:pt x="83367" y="4971"/>
                  </a:cubicBezTo>
                  <a:lnTo>
                    <a:pt x="83367" y="100415"/>
                  </a:lnTo>
                  <a:cubicBezTo>
                    <a:pt x="83367" y="116487"/>
                    <a:pt x="74532" y="131596"/>
                    <a:pt x="42054" y="131596"/>
                  </a:cubicBezTo>
                  <a:cubicBezTo>
                    <a:pt x="9577" y="131596"/>
                    <a:pt x="0" y="116493"/>
                    <a:pt x="0" y="100415"/>
                  </a:cubicBezTo>
                  <a:lnTo>
                    <a:pt x="0" y="88937"/>
                  </a:lnTo>
                  <a:cubicBezTo>
                    <a:pt x="0" y="85489"/>
                    <a:pt x="1334" y="84155"/>
                    <a:pt x="4791" y="84155"/>
                  </a:cubicBezTo>
                  <a:lnTo>
                    <a:pt x="20938" y="84155"/>
                  </a:lnTo>
                  <a:cubicBezTo>
                    <a:pt x="24395" y="84155"/>
                    <a:pt x="25540" y="85489"/>
                    <a:pt x="25540" y="88937"/>
                  </a:cubicBezTo>
                  <a:lnTo>
                    <a:pt x="25540" y="95828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F16DC254-215C-3BC5-7747-250A8A6FC71F}"/>
                </a:ext>
              </a:extLst>
            </p:cNvPr>
            <p:cNvSpPr/>
            <p:nvPr/>
          </p:nvSpPr>
          <p:spPr>
            <a:xfrm>
              <a:off x="10290513" y="6739825"/>
              <a:ext cx="25741" cy="25058"/>
            </a:xfrm>
            <a:custGeom>
              <a:avLst/>
              <a:gdLst>
                <a:gd name="connsiteX0" fmla="*/ 25741 w 25741"/>
                <a:gd name="connsiteY0" fmla="*/ 20270 h 25058"/>
                <a:gd name="connsiteX1" fmla="*/ 21140 w 25741"/>
                <a:gd name="connsiteY1" fmla="*/ 25058 h 25058"/>
                <a:gd name="connsiteX2" fmla="*/ 4809 w 25741"/>
                <a:gd name="connsiteY2" fmla="*/ 25058 h 25058"/>
                <a:gd name="connsiteX3" fmla="*/ 0 w 25741"/>
                <a:gd name="connsiteY3" fmla="*/ 20270 h 25058"/>
                <a:gd name="connsiteX4" fmla="*/ 0 w 25741"/>
                <a:gd name="connsiteY4" fmla="*/ 4783 h 25058"/>
                <a:gd name="connsiteX5" fmla="*/ 4809 w 25741"/>
                <a:gd name="connsiteY5" fmla="*/ 0 h 25058"/>
                <a:gd name="connsiteX6" fmla="*/ 21140 w 25741"/>
                <a:gd name="connsiteY6" fmla="*/ 0 h 25058"/>
                <a:gd name="connsiteX7" fmla="*/ 25741 w 25741"/>
                <a:gd name="connsiteY7" fmla="*/ 4783 h 25058"/>
                <a:gd name="connsiteX8" fmla="*/ 25741 w 25741"/>
                <a:gd name="connsiteY8" fmla="*/ 20270 h 2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41" h="25058">
                  <a:moveTo>
                    <a:pt x="25741" y="20270"/>
                  </a:moveTo>
                  <a:cubicBezTo>
                    <a:pt x="25741" y="23712"/>
                    <a:pt x="24597" y="25058"/>
                    <a:pt x="21140" y="25058"/>
                  </a:cubicBezTo>
                  <a:lnTo>
                    <a:pt x="4809" y="25058"/>
                  </a:lnTo>
                  <a:cubicBezTo>
                    <a:pt x="1352" y="25058"/>
                    <a:pt x="0" y="23712"/>
                    <a:pt x="0" y="20270"/>
                  </a:cubicBezTo>
                  <a:lnTo>
                    <a:pt x="0" y="4783"/>
                  </a:lnTo>
                  <a:cubicBezTo>
                    <a:pt x="0" y="1346"/>
                    <a:pt x="1352" y="0"/>
                    <a:pt x="4809" y="0"/>
                  </a:cubicBezTo>
                  <a:lnTo>
                    <a:pt x="21140" y="0"/>
                  </a:lnTo>
                  <a:cubicBezTo>
                    <a:pt x="24597" y="0"/>
                    <a:pt x="25741" y="1346"/>
                    <a:pt x="25741" y="4783"/>
                  </a:cubicBezTo>
                  <a:lnTo>
                    <a:pt x="25741" y="20270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828DAF92-86D7-59BD-762B-0B535B8F0138}"/>
                </a:ext>
              </a:extLst>
            </p:cNvPr>
            <p:cNvSpPr/>
            <p:nvPr/>
          </p:nvSpPr>
          <p:spPr>
            <a:xfrm>
              <a:off x="10343721" y="6634810"/>
              <a:ext cx="93364" cy="130067"/>
            </a:xfrm>
            <a:custGeom>
              <a:avLst/>
              <a:gdLst>
                <a:gd name="connsiteX0" fmla="*/ 4044 w 93364"/>
                <a:gd name="connsiteY0" fmla="*/ 130067 h 130067"/>
                <a:gd name="connsiteX1" fmla="*/ 0 w 93364"/>
                <a:gd name="connsiteY1" fmla="*/ 125101 h 130067"/>
                <a:gd name="connsiteX2" fmla="*/ 0 w 93364"/>
                <a:gd name="connsiteY2" fmla="*/ 4971 h 130067"/>
                <a:gd name="connsiteX3" fmla="*/ 4619 w 93364"/>
                <a:gd name="connsiteY3" fmla="*/ 0 h 130067"/>
                <a:gd name="connsiteX4" fmla="*/ 46495 w 93364"/>
                <a:gd name="connsiteY4" fmla="*/ 0 h 130067"/>
                <a:gd name="connsiteX5" fmla="*/ 93365 w 93364"/>
                <a:gd name="connsiteY5" fmla="*/ 31175 h 130067"/>
                <a:gd name="connsiteX6" fmla="*/ 93365 w 93364"/>
                <a:gd name="connsiteY6" fmla="*/ 98892 h 130067"/>
                <a:gd name="connsiteX7" fmla="*/ 46495 w 93364"/>
                <a:gd name="connsiteY7" fmla="*/ 130067 h 130067"/>
                <a:gd name="connsiteX8" fmla="*/ 4044 w 93364"/>
                <a:gd name="connsiteY8" fmla="*/ 130067 h 130067"/>
                <a:gd name="connsiteX9" fmla="*/ 25943 w 93364"/>
                <a:gd name="connsiteY9" fmla="*/ 21415 h 130067"/>
                <a:gd name="connsiteX10" fmla="*/ 25943 w 93364"/>
                <a:gd name="connsiteY10" fmla="*/ 108646 h 130067"/>
                <a:gd name="connsiteX11" fmla="*/ 46495 w 93364"/>
                <a:gd name="connsiteY11" fmla="*/ 108646 h 130067"/>
                <a:gd name="connsiteX12" fmla="*/ 67439 w 93364"/>
                <a:gd name="connsiteY12" fmla="*/ 94293 h 130067"/>
                <a:gd name="connsiteX13" fmla="*/ 67439 w 93364"/>
                <a:gd name="connsiteY13" fmla="*/ 35769 h 130067"/>
                <a:gd name="connsiteX14" fmla="*/ 46495 w 93364"/>
                <a:gd name="connsiteY14" fmla="*/ 21415 h 130067"/>
                <a:gd name="connsiteX15" fmla="*/ 25943 w 93364"/>
                <a:gd name="connsiteY15" fmla="*/ 21415 h 13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3364" h="130067">
                  <a:moveTo>
                    <a:pt x="4044" y="130067"/>
                  </a:moveTo>
                  <a:cubicBezTo>
                    <a:pt x="967" y="130067"/>
                    <a:pt x="0" y="128355"/>
                    <a:pt x="0" y="125101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19" y="0"/>
                  </a:cubicBezTo>
                  <a:lnTo>
                    <a:pt x="46495" y="0"/>
                  </a:lnTo>
                  <a:cubicBezTo>
                    <a:pt x="81268" y="0"/>
                    <a:pt x="93365" y="15109"/>
                    <a:pt x="93365" y="31175"/>
                  </a:cubicBezTo>
                  <a:lnTo>
                    <a:pt x="93365" y="98892"/>
                  </a:lnTo>
                  <a:cubicBezTo>
                    <a:pt x="93365" y="114958"/>
                    <a:pt x="81262" y="130067"/>
                    <a:pt x="46495" y="130067"/>
                  </a:cubicBezTo>
                  <a:lnTo>
                    <a:pt x="4044" y="130067"/>
                  </a:lnTo>
                  <a:close/>
                  <a:moveTo>
                    <a:pt x="25943" y="21415"/>
                  </a:moveTo>
                  <a:lnTo>
                    <a:pt x="25943" y="108646"/>
                  </a:lnTo>
                  <a:lnTo>
                    <a:pt x="46495" y="108646"/>
                  </a:lnTo>
                  <a:cubicBezTo>
                    <a:pt x="59565" y="108646"/>
                    <a:pt x="67439" y="103858"/>
                    <a:pt x="67439" y="94293"/>
                  </a:cubicBezTo>
                  <a:lnTo>
                    <a:pt x="67439" y="35769"/>
                  </a:lnTo>
                  <a:cubicBezTo>
                    <a:pt x="67439" y="26204"/>
                    <a:pt x="59565" y="21415"/>
                    <a:pt x="46495" y="21415"/>
                  </a:cubicBezTo>
                  <a:lnTo>
                    <a:pt x="25943" y="21415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F08B099-7CB9-0A2E-F834-6FE98C0FB802}"/>
                </a:ext>
              </a:extLst>
            </p:cNvPr>
            <p:cNvSpPr/>
            <p:nvPr/>
          </p:nvSpPr>
          <p:spPr>
            <a:xfrm>
              <a:off x="10446122" y="6739825"/>
              <a:ext cx="25747" cy="25058"/>
            </a:xfrm>
            <a:custGeom>
              <a:avLst/>
              <a:gdLst>
                <a:gd name="connsiteX0" fmla="*/ 25747 w 25747"/>
                <a:gd name="connsiteY0" fmla="*/ 20270 h 25058"/>
                <a:gd name="connsiteX1" fmla="*/ 21134 w 25747"/>
                <a:gd name="connsiteY1" fmla="*/ 25058 h 25058"/>
                <a:gd name="connsiteX2" fmla="*/ 4803 w 25747"/>
                <a:gd name="connsiteY2" fmla="*/ 25058 h 25058"/>
                <a:gd name="connsiteX3" fmla="*/ 0 w 25747"/>
                <a:gd name="connsiteY3" fmla="*/ 20270 h 25058"/>
                <a:gd name="connsiteX4" fmla="*/ 0 w 25747"/>
                <a:gd name="connsiteY4" fmla="*/ 4783 h 25058"/>
                <a:gd name="connsiteX5" fmla="*/ 4803 w 25747"/>
                <a:gd name="connsiteY5" fmla="*/ 0 h 25058"/>
                <a:gd name="connsiteX6" fmla="*/ 21134 w 25747"/>
                <a:gd name="connsiteY6" fmla="*/ 0 h 25058"/>
                <a:gd name="connsiteX7" fmla="*/ 25747 w 25747"/>
                <a:gd name="connsiteY7" fmla="*/ 4783 h 25058"/>
                <a:gd name="connsiteX8" fmla="*/ 25747 w 25747"/>
                <a:gd name="connsiteY8" fmla="*/ 20270 h 2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47" h="25058">
                  <a:moveTo>
                    <a:pt x="25747" y="20270"/>
                  </a:moveTo>
                  <a:cubicBezTo>
                    <a:pt x="25747" y="23712"/>
                    <a:pt x="24597" y="25058"/>
                    <a:pt x="21134" y="25058"/>
                  </a:cubicBezTo>
                  <a:lnTo>
                    <a:pt x="4803" y="25058"/>
                  </a:lnTo>
                  <a:cubicBezTo>
                    <a:pt x="1340" y="25058"/>
                    <a:pt x="0" y="23712"/>
                    <a:pt x="0" y="20270"/>
                  </a:cubicBezTo>
                  <a:lnTo>
                    <a:pt x="0" y="4783"/>
                  </a:lnTo>
                  <a:cubicBezTo>
                    <a:pt x="0" y="1346"/>
                    <a:pt x="1340" y="0"/>
                    <a:pt x="4803" y="0"/>
                  </a:cubicBezTo>
                  <a:lnTo>
                    <a:pt x="21134" y="0"/>
                  </a:lnTo>
                  <a:cubicBezTo>
                    <a:pt x="24597" y="0"/>
                    <a:pt x="25747" y="1346"/>
                    <a:pt x="25747" y="4783"/>
                  </a:cubicBezTo>
                  <a:lnTo>
                    <a:pt x="25747" y="20270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54216FE8-B45E-1CD0-E5A6-3342C346DC17}"/>
                </a:ext>
              </a:extLst>
            </p:cNvPr>
            <p:cNvSpPr/>
            <p:nvPr/>
          </p:nvSpPr>
          <p:spPr>
            <a:xfrm>
              <a:off x="10526696" y="6634810"/>
              <a:ext cx="91431" cy="130061"/>
            </a:xfrm>
            <a:custGeom>
              <a:avLst/>
              <a:gdLst>
                <a:gd name="connsiteX0" fmla="*/ 25931 w 91431"/>
                <a:gd name="connsiteY0" fmla="*/ 83966 h 130061"/>
                <a:gd name="connsiteX1" fmla="*/ 25931 w 91431"/>
                <a:gd name="connsiteY1" fmla="*/ 125096 h 130061"/>
                <a:gd name="connsiteX2" fmla="*/ 21323 w 91431"/>
                <a:gd name="connsiteY2" fmla="*/ 130061 h 130061"/>
                <a:gd name="connsiteX3" fmla="*/ 4607 w 91431"/>
                <a:gd name="connsiteY3" fmla="*/ 130061 h 130061"/>
                <a:gd name="connsiteX4" fmla="*/ 0 w 91431"/>
                <a:gd name="connsiteY4" fmla="*/ 125096 h 130061"/>
                <a:gd name="connsiteX5" fmla="*/ 0 w 91431"/>
                <a:gd name="connsiteY5" fmla="*/ 4971 h 130061"/>
                <a:gd name="connsiteX6" fmla="*/ 4607 w 91431"/>
                <a:gd name="connsiteY6" fmla="*/ 0 h 130061"/>
                <a:gd name="connsiteX7" fmla="*/ 44948 w 91431"/>
                <a:gd name="connsiteY7" fmla="*/ 0 h 130061"/>
                <a:gd name="connsiteX8" fmla="*/ 91431 w 91431"/>
                <a:gd name="connsiteY8" fmla="*/ 31175 h 130061"/>
                <a:gd name="connsiteX9" fmla="*/ 91431 w 91431"/>
                <a:gd name="connsiteY9" fmla="*/ 52803 h 130061"/>
                <a:gd name="connsiteX10" fmla="*/ 44948 w 91431"/>
                <a:gd name="connsiteY10" fmla="*/ 83972 h 130061"/>
                <a:gd name="connsiteX11" fmla="*/ 25931 w 91431"/>
                <a:gd name="connsiteY11" fmla="*/ 83972 h 130061"/>
                <a:gd name="connsiteX12" fmla="*/ 25931 w 91431"/>
                <a:gd name="connsiteY12" fmla="*/ 21415 h 130061"/>
                <a:gd name="connsiteX13" fmla="*/ 25931 w 91431"/>
                <a:gd name="connsiteY13" fmla="*/ 62545 h 130061"/>
                <a:gd name="connsiteX14" fmla="*/ 44948 w 91431"/>
                <a:gd name="connsiteY14" fmla="*/ 62545 h 130061"/>
                <a:gd name="connsiteX15" fmla="*/ 65696 w 91431"/>
                <a:gd name="connsiteY15" fmla="*/ 48386 h 130061"/>
                <a:gd name="connsiteX16" fmla="*/ 65696 w 91431"/>
                <a:gd name="connsiteY16" fmla="*/ 35763 h 130061"/>
                <a:gd name="connsiteX17" fmla="*/ 44948 w 91431"/>
                <a:gd name="connsiteY17" fmla="*/ 21409 h 130061"/>
                <a:gd name="connsiteX18" fmla="*/ 25931 w 91431"/>
                <a:gd name="connsiteY18" fmla="*/ 21409 h 13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431" h="130061">
                  <a:moveTo>
                    <a:pt x="25931" y="83966"/>
                  </a:moveTo>
                  <a:lnTo>
                    <a:pt x="25931" y="125096"/>
                  </a:lnTo>
                  <a:cubicBezTo>
                    <a:pt x="25931" y="128538"/>
                    <a:pt x="24775" y="130061"/>
                    <a:pt x="21323" y="130061"/>
                  </a:cubicBezTo>
                  <a:lnTo>
                    <a:pt x="4607" y="130061"/>
                  </a:lnTo>
                  <a:cubicBezTo>
                    <a:pt x="1150" y="130061"/>
                    <a:pt x="0" y="128538"/>
                    <a:pt x="0" y="125096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07" y="0"/>
                  </a:cubicBezTo>
                  <a:lnTo>
                    <a:pt x="44948" y="0"/>
                  </a:lnTo>
                  <a:cubicBezTo>
                    <a:pt x="79708" y="0"/>
                    <a:pt x="91431" y="15109"/>
                    <a:pt x="91431" y="31175"/>
                  </a:cubicBezTo>
                  <a:lnTo>
                    <a:pt x="91431" y="52803"/>
                  </a:lnTo>
                  <a:cubicBezTo>
                    <a:pt x="91431" y="68863"/>
                    <a:pt x="79714" y="83972"/>
                    <a:pt x="44948" y="83972"/>
                  </a:cubicBezTo>
                  <a:lnTo>
                    <a:pt x="25931" y="83972"/>
                  </a:lnTo>
                  <a:close/>
                  <a:moveTo>
                    <a:pt x="25931" y="21415"/>
                  </a:moveTo>
                  <a:lnTo>
                    <a:pt x="25931" y="62545"/>
                  </a:lnTo>
                  <a:lnTo>
                    <a:pt x="44948" y="62545"/>
                  </a:lnTo>
                  <a:cubicBezTo>
                    <a:pt x="57815" y="62545"/>
                    <a:pt x="65696" y="57756"/>
                    <a:pt x="65696" y="48386"/>
                  </a:cubicBezTo>
                  <a:lnTo>
                    <a:pt x="65696" y="35763"/>
                  </a:lnTo>
                  <a:cubicBezTo>
                    <a:pt x="65696" y="26198"/>
                    <a:pt x="57815" y="21409"/>
                    <a:pt x="44948" y="21409"/>
                  </a:cubicBezTo>
                  <a:lnTo>
                    <a:pt x="25931" y="2140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704B55D-3B6F-CA98-B7E0-37F3EC0D075C}"/>
                </a:ext>
              </a:extLst>
            </p:cNvPr>
            <p:cNvSpPr/>
            <p:nvPr/>
          </p:nvSpPr>
          <p:spPr>
            <a:xfrm>
              <a:off x="10637921" y="6633275"/>
              <a:ext cx="93382" cy="133137"/>
            </a:xfrm>
            <a:custGeom>
              <a:avLst/>
              <a:gdLst>
                <a:gd name="connsiteX0" fmla="*/ 0 w 93382"/>
                <a:gd name="connsiteY0" fmla="*/ 31175 h 133137"/>
                <a:gd name="connsiteX1" fmla="*/ 46685 w 93382"/>
                <a:gd name="connsiteY1" fmla="*/ 0 h 133137"/>
                <a:gd name="connsiteX2" fmla="*/ 93382 w 93382"/>
                <a:gd name="connsiteY2" fmla="*/ 31175 h 133137"/>
                <a:gd name="connsiteX3" fmla="*/ 93382 w 93382"/>
                <a:gd name="connsiteY3" fmla="*/ 101956 h 133137"/>
                <a:gd name="connsiteX4" fmla="*/ 46685 w 93382"/>
                <a:gd name="connsiteY4" fmla="*/ 133137 h 133137"/>
                <a:gd name="connsiteX5" fmla="*/ 0 w 93382"/>
                <a:gd name="connsiteY5" fmla="*/ 101956 h 133137"/>
                <a:gd name="connsiteX6" fmla="*/ 0 w 93382"/>
                <a:gd name="connsiteY6" fmla="*/ 31175 h 133137"/>
                <a:gd name="connsiteX7" fmla="*/ 67434 w 93382"/>
                <a:gd name="connsiteY7" fmla="*/ 35769 h 133137"/>
                <a:gd name="connsiteX8" fmla="*/ 46685 w 93382"/>
                <a:gd name="connsiteY8" fmla="*/ 21427 h 133137"/>
                <a:gd name="connsiteX9" fmla="*/ 26133 w 93382"/>
                <a:gd name="connsiteY9" fmla="*/ 35769 h 133137"/>
                <a:gd name="connsiteX10" fmla="*/ 26133 w 93382"/>
                <a:gd name="connsiteY10" fmla="*/ 97369 h 133137"/>
                <a:gd name="connsiteX11" fmla="*/ 46685 w 93382"/>
                <a:gd name="connsiteY11" fmla="*/ 111716 h 133137"/>
                <a:gd name="connsiteX12" fmla="*/ 67434 w 93382"/>
                <a:gd name="connsiteY12" fmla="*/ 97369 h 133137"/>
                <a:gd name="connsiteX13" fmla="*/ 67434 w 93382"/>
                <a:gd name="connsiteY13" fmla="*/ 35769 h 133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382" h="133137">
                  <a:moveTo>
                    <a:pt x="0" y="31175"/>
                  </a:moveTo>
                  <a:cubicBezTo>
                    <a:pt x="0" y="15115"/>
                    <a:pt x="11919" y="0"/>
                    <a:pt x="46685" y="0"/>
                  </a:cubicBezTo>
                  <a:cubicBezTo>
                    <a:pt x="81452" y="0"/>
                    <a:pt x="93382" y="15115"/>
                    <a:pt x="93382" y="31175"/>
                  </a:cubicBezTo>
                  <a:lnTo>
                    <a:pt x="93382" y="101956"/>
                  </a:lnTo>
                  <a:cubicBezTo>
                    <a:pt x="93382" y="118028"/>
                    <a:pt x="81463" y="133137"/>
                    <a:pt x="46685" y="133137"/>
                  </a:cubicBezTo>
                  <a:cubicBezTo>
                    <a:pt x="11907" y="133137"/>
                    <a:pt x="0" y="118034"/>
                    <a:pt x="0" y="101956"/>
                  </a:cubicBezTo>
                  <a:lnTo>
                    <a:pt x="0" y="31175"/>
                  </a:lnTo>
                  <a:close/>
                  <a:moveTo>
                    <a:pt x="67434" y="35769"/>
                  </a:moveTo>
                  <a:cubicBezTo>
                    <a:pt x="67434" y="26209"/>
                    <a:pt x="59559" y="21427"/>
                    <a:pt x="46685" y="21427"/>
                  </a:cubicBezTo>
                  <a:cubicBezTo>
                    <a:pt x="33812" y="21427"/>
                    <a:pt x="26133" y="26215"/>
                    <a:pt x="26133" y="35769"/>
                  </a:cubicBezTo>
                  <a:lnTo>
                    <a:pt x="26133" y="97369"/>
                  </a:lnTo>
                  <a:cubicBezTo>
                    <a:pt x="26133" y="106928"/>
                    <a:pt x="33818" y="111716"/>
                    <a:pt x="46685" y="111716"/>
                  </a:cubicBezTo>
                  <a:cubicBezTo>
                    <a:pt x="59553" y="111716"/>
                    <a:pt x="67434" y="106922"/>
                    <a:pt x="67434" y="97369"/>
                  </a:cubicBezTo>
                  <a:lnTo>
                    <a:pt x="67434" y="3576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2309EAA7-92EF-0303-3B1A-852A4654B6F1}"/>
                </a:ext>
              </a:extLst>
            </p:cNvPr>
            <p:cNvSpPr/>
            <p:nvPr/>
          </p:nvSpPr>
          <p:spPr>
            <a:xfrm>
              <a:off x="10747193" y="6634804"/>
              <a:ext cx="156104" cy="130072"/>
            </a:xfrm>
            <a:custGeom>
              <a:avLst/>
              <a:gdLst>
                <a:gd name="connsiteX0" fmla="*/ 108974 w 156104"/>
                <a:gd name="connsiteY0" fmla="*/ 69813 h 130072"/>
                <a:gd name="connsiteX1" fmla="*/ 112046 w 156104"/>
                <a:gd name="connsiteY1" fmla="*/ 88754 h 130072"/>
                <a:gd name="connsiteX2" fmla="*/ 115509 w 156104"/>
                <a:gd name="connsiteY2" fmla="*/ 70008 h 130072"/>
                <a:gd name="connsiteX3" fmla="*/ 132029 w 156104"/>
                <a:gd name="connsiteY3" fmla="*/ 4783 h 130072"/>
                <a:gd name="connsiteX4" fmla="*/ 137592 w 156104"/>
                <a:gd name="connsiteY4" fmla="*/ 0 h 130072"/>
                <a:gd name="connsiteX5" fmla="*/ 152203 w 156104"/>
                <a:gd name="connsiteY5" fmla="*/ 0 h 130072"/>
                <a:gd name="connsiteX6" fmla="*/ 155855 w 156104"/>
                <a:gd name="connsiteY6" fmla="*/ 4783 h 130072"/>
                <a:gd name="connsiteX7" fmla="*/ 125311 w 156104"/>
                <a:gd name="connsiteY7" fmla="*/ 125285 h 130072"/>
                <a:gd name="connsiteX8" fmla="*/ 119357 w 156104"/>
                <a:gd name="connsiteY8" fmla="*/ 130073 h 130072"/>
                <a:gd name="connsiteX9" fmla="*/ 103033 w 156104"/>
                <a:gd name="connsiteY9" fmla="*/ 130073 h 130072"/>
                <a:gd name="connsiteX10" fmla="*/ 97654 w 156104"/>
                <a:gd name="connsiteY10" fmla="*/ 125285 h 130072"/>
                <a:gd name="connsiteX11" fmla="*/ 80743 w 156104"/>
                <a:gd name="connsiteY11" fmla="*/ 58719 h 130072"/>
                <a:gd name="connsiteX12" fmla="*/ 78051 w 156104"/>
                <a:gd name="connsiteY12" fmla="*/ 41313 h 130072"/>
                <a:gd name="connsiteX13" fmla="*/ 75370 w 156104"/>
                <a:gd name="connsiteY13" fmla="*/ 58719 h 130072"/>
                <a:gd name="connsiteX14" fmla="*/ 58464 w 156104"/>
                <a:gd name="connsiteY14" fmla="*/ 125285 h 130072"/>
                <a:gd name="connsiteX15" fmla="*/ 52493 w 156104"/>
                <a:gd name="connsiteY15" fmla="*/ 130073 h 130072"/>
                <a:gd name="connsiteX16" fmla="*/ 36163 w 156104"/>
                <a:gd name="connsiteY16" fmla="*/ 130073 h 130072"/>
                <a:gd name="connsiteX17" fmla="*/ 30790 w 156104"/>
                <a:gd name="connsiteY17" fmla="*/ 125285 h 130072"/>
                <a:gd name="connsiteX18" fmla="*/ 240 w 156104"/>
                <a:gd name="connsiteY18" fmla="*/ 4783 h 130072"/>
                <a:gd name="connsiteX19" fmla="*/ 3899 w 156104"/>
                <a:gd name="connsiteY19" fmla="*/ 0 h 130072"/>
                <a:gd name="connsiteX20" fmla="*/ 21000 w 156104"/>
                <a:gd name="connsiteY20" fmla="*/ 0 h 130072"/>
                <a:gd name="connsiteX21" fmla="*/ 26562 w 156104"/>
                <a:gd name="connsiteY21" fmla="*/ 4783 h 130072"/>
                <a:gd name="connsiteX22" fmla="*/ 42703 w 156104"/>
                <a:gd name="connsiteY22" fmla="*/ 70008 h 130072"/>
                <a:gd name="connsiteX23" fmla="*/ 45775 w 156104"/>
                <a:gd name="connsiteY23" fmla="*/ 86068 h 130072"/>
                <a:gd name="connsiteX24" fmla="*/ 49244 w 156104"/>
                <a:gd name="connsiteY24" fmla="*/ 70008 h 130072"/>
                <a:gd name="connsiteX25" fmla="*/ 65764 w 156104"/>
                <a:gd name="connsiteY25" fmla="*/ 4783 h 130072"/>
                <a:gd name="connsiteX26" fmla="*/ 71516 w 156104"/>
                <a:gd name="connsiteY26" fmla="*/ 0 h 130072"/>
                <a:gd name="connsiteX27" fmla="*/ 87076 w 156104"/>
                <a:gd name="connsiteY27" fmla="*/ 0 h 130072"/>
                <a:gd name="connsiteX28" fmla="*/ 92851 w 156104"/>
                <a:gd name="connsiteY28" fmla="*/ 4783 h 130072"/>
                <a:gd name="connsiteX29" fmla="*/ 108986 w 156104"/>
                <a:gd name="connsiteY29" fmla="*/ 69813 h 13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6104" h="130072">
                  <a:moveTo>
                    <a:pt x="108974" y="69813"/>
                  </a:moveTo>
                  <a:cubicBezTo>
                    <a:pt x="110516" y="76314"/>
                    <a:pt x="111868" y="87030"/>
                    <a:pt x="112046" y="88754"/>
                  </a:cubicBezTo>
                  <a:cubicBezTo>
                    <a:pt x="112236" y="87414"/>
                    <a:pt x="113398" y="78428"/>
                    <a:pt x="115509" y="70008"/>
                  </a:cubicBezTo>
                  <a:lnTo>
                    <a:pt x="132029" y="4783"/>
                  </a:lnTo>
                  <a:cubicBezTo>
                    <a:pt x="132788" y="1724"/>
                    <a:pt x="134324" y="0"/>
                    <a:pt x="137592" y="0"/>
                  </a:cubicBezTo>
                  <a:lnTo>
                    <a:pt x="152203" y="0"/>
                  </a:lnTo>
                  <a:cubicBezTo>
                    <a:pt x="155666" y="0"/>
                    <a:pt x="156626" y="1724"/>
                    <a:pt x="155855" y="4783"/>
                  </a:cubicBezTo>
                  <a:lnTo>
                    <a:pt x="125311" y="125285"/>
                  </a:lnTo>
                  <a:cubicBezTo>
                    <a:pt x="124540" y="128544"/>
                    <a:pt x="122625" y="130073"/>
                    <a:pt x="119357" y="130073"/>
                  </a:cubicBezTo>
                  <a:lnTo>
                    <a:pt x="103033" y="130073"/>
                  </a:lnTo>
                  <a:cubicBezTo>
                    <a:pt x="100139" y="130073"/>
                    <a:pt x="98408" y="128355"/>
                    <a:pt x="97654" y="125285"/>
                  </a:cubicBezTo>
                  <a:lnTo>
                    <a:pt x="80743" y="58719"/>
                  </a:lnTo>
                  <a:cubicBezTo>
                    <a:pt x="79580" y="54527"/>
                    <a:pt x="78234" y="43421"/>
                    <a:pt x="78051" y="41313"/>
                  </a:cubicBezTo>
                  <a:cubicBezTo>
                    <a:pt x="77861" y="43232"/>
                    <a:pt x="76319" y="54905"/>
                    <a:pt x="75370" y="58719"/>
                  </a:cubicBezTo>
                  <a:lnTo>
                    <a:pt x="58464" y="125285"/>
                  </a:lnTo>
                  <a:cubicBezTo>
                    <a:pt x="57682" y="128544"/>
                    <a:pt x="55956" y="130073"/>
                    <a:pt x="52493" y="130073"/>
                  </a:cubicBezTo>
                  <a:lnTo>
                    <a:pt x="36163" y="130073"/>
                  </a:lnTo>
                  <a:cubicBezTo>
                    <a:pt x="33287" y="130073"/>
                    <a:pt x="31561" y="128355"/>
                    <a:pt x="30790" y="125285"/>
                  </a:cubicBezTo>
                  <a:lnTo>
                    <a:pt x="240" y="4783"/>
                  </a:lnTo>
                  <a:cubicBezTo>
                    <a:pt x="-513" y="1724"/>
                    <a:pt x="453" y="0"/>
                    <a:pt x="3899" y="0"/>
                  </a:cubicBezTo>
                  <a:lnTo>
                    <a:pt x="21000" y="0"/>
                  </a:lnTo>
                  <a:cubicBezTo>
                    <a:pt x="24261" y="0"/>
                    <a:pt x="25797" y="1724"/>
                    <a:pt x="26562" y="4783"/>
                  </a:cubicBezTo>
                  <a:lnTo>
                    <a:pt x="42703" y="70008"/>
                  </a:lnTo>
                  <a:cubicBezTo>
                    <a:pt x="44435" y="77087"/>
                    <a:pt x="45775" y="86068"/>
                    <a:pt x="45775" y="86068"/>
                  </a:cubicBezTo>
                  <a:cubicBezTo>
                    <a:pt x="45775" y="86068"/>
                    <a:pt x="46753" y="79756"/>
                    <a:pt x="49244" y="70008"/>
                  </a:cubicBezTo>
                  <a:lnTo>
                    <a:pt x="65764" y="4783"/>
                  </a:lnTo>
                  <a:cubicBezTo>
                    <a:pt x="66529" y="1724"/>
                    <a:pt x="68071" y="0"/>
                    <a:pt x="71516" y="0"/>
                  </a:cubicBezTo>
                  <a:lnTo>
                    <a:pt x="87076" y="0"/>
                  </a:lnTo>
                  <a:cubicBezTo>
                    <a:pt x="90539" y="0"/>
                    <a:pt x="92086" y="1724"/>
                    <a:pt x="92851" y="4783"/>
                  </a:cubicBezTo>
                  <a:lnTo>
                    <a:pt x="108986" y="69813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F240FB40-C2F7-9FD8-23D6-AB768BE41308}"/>
                </a:ext>
              </a:extLst>
            </p:cNvPr>
            <p:cNvSpPr/>
            <p:nvPr/>
          </p:nvSpPr>
          <p:spPr>
            <a:xfrm>
              <a:off x="10921104" y="6634804"/>
              <a:ext cx="77045" cy="130078"/>
            </a:xfrm>
            <a:custGeom>
              <a:avLst/>
              <a:gdLst>
                <a:gd name="connsiteX0" fmla="*/ 4607 w 77045"/>
                <a:gd name="connsiteY0" fmla="*/ 130073 h 130078"/>
                <a:gd name="connsiteX1" fmla="*/ 0 w 77045"/>
                <a:gd name="connsiteY1" fmla="*/ 125107 h 130078"/>
                <a:gd name="connsiteX2" fmla="*/ 0 w 77045"/>
                <a:gd name="connsiteY2" fmla="*/ 4977 h 130078"/>
                <a:gd name="connsiteX3" fmla="*/ 4607 w 77045"/>
                <a:gd name="connsiteY3" fmla="*/ 0 h 130078"/>
                <a:gd name="connsiteX4" fmla="*/ 70310 w 77045"/>
                <a:gd name="connsiteY4" fmla="*/ 0 h 130078"/>
                <a:gd name="connsiteX5" fmla="*/ 75113 w 77045"/>
                <a:gd name="connsiteY5" fmla="*/ 4594 h 130078"/>
                <a:gd name="connsiteX6" fmla="*/ 75113 w 77045"/>
                <a:gd name="connsiteY6" fmla="*/ 16644 h 130078"/>
                <a:gd name="connsiteX7" fmla="*/ 70310 w 77045"/>
                <a:gd name="connsiteY7" fmla="*/ 21427 h 130078"/>
                <a:gd name="connsiteX8" fmla="*/ 25931 w 77045"/>
                <a:gd name="connsiteY8" fmla="*/ 21427 h 130078"/>
                <a:gd name="connsiteX9" fmla="*/ 25931 w 77045"/>
                <a:gd name="connsiteY9" fmla="*/ 52407 h 130078"/>
                <a:gd name="connsiteX10" fmla="*/ 67048 w 77045"/>
                <a:gd name="connsiteY10" fmla="*/ 52407 h 130078"/>
                <a:gd name="connsiteX11" fmla="*/ 72035 w 77045"/>
                <a:gd name="connsiteY11" fmla="*/ 56995 h 130078"/>
                <a:gd name="connsiteX12" fmla="*/ 72035 w 77045"/>
                <a:gd name="connsiteY12" fmla="*/ 68479 h 130078"/>
                <a:gd name="connsiteX13" fmla="*/ 67048 w 77045"/>
                <a:gd name="connsiteY13" fmla="*/ 73066 h 130078"/>
                <a:gd name="connsiteX14" fmla="*/ 25931 w 77045"/>
                <a:gd name="connsiteY14" fmla="*/ 73066 h 130078"/>
                <a:gd name="connsiteX15" fmla="*/ 25931 w 77045"/>
                <a:gd name="connsiteY15" fmla="*/ 108652 h 130078"/>
                <a:gd name="connsiteX16" fmla="*/ 72237 w 77045"/>
                <a:gd name="connsiteY16" fmla="*/ 108652 h 130078"/>
                <a:gd name="connsiteX17" fmla="*/ 77046 w 77045"/>
                <a:gd name="connsiteY17" fmla="*/ 113251 h 130078"/>
                <a:gd name="connsiteX18" fmla="*/ 77046 w 77045"/>
                <a:gd name="connsiteY18" fmla="*/ 125290 h 130078"/>
                <a:gd name="connsiteX19" fmla="*/ 72237 w 77045"/>
                <a:gd name="connsiteY19" fmla="*/ 130079 h 130078"/>
                <a:gd name="connsiteX20" fmla="*/ 4607 w 77045"/>
                <a:gd name="connsiteY20" fmla="*/ 130079 h 130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045" h="130078">
                  <a:moveTo>
                    <a:pt x="4607" y="130073"/>
                  </a:moveTo>
                  <a:cubicBezTo>
                    <a:pt x="1156" y="130073"/>
                    <a:pt x="0" y="128550"/>
                    <a:pt x="0" y="125107"/>
                  </a:cubicBezTo>
                  <a:lnTo>
                    <a:pt x="0" y="4977"/>
                  </a:lnTo>
                  <a:cubicBezTo>
                    <a:pt x="0" y="1523"/>
                    <a:pt x="1156" y="0"/>
                    <a:pt x="4607" y="0"/>
                  </a:cubicBezTo>
                  <a:lnTo>
                    <a:pt x="70310" y="0"/>
                  </a:lnTo>
                  <a:cubicBezTo>
                    <a:pt x="73595" y="0"/>
                    <a:pt x="75113" y="1151"/>
                    <a:pt x="75113" y="4594"/>
                  </a:cubicBezTo>
                  <a:lnTo>
                    <a:pt x="75113" y="16644"/>
                  </a:lnTo>
                  <a:cubicBezTo>
                    <a:pt x="75113" y="20087"/>
                    <a:pt x="73595" y="21427"/>
                    <a:pt x="70310" y="21427"/>
                  </a:cubicBezTo>
                  <a:lnTo>
                    <a:pt x="25931" y="21427"/>
                  </a:lnTo>
                  <a:lnTo>
                    <a:pt x="25931" y="52407"/>
                  </a:lnTo>
                  <a:lnTo>
                    <a:pt x="67048" y="52407"/>
                  </a:lnTo>
                  <a:cubicBezTo>
                    <a:pt x="70505" y="52407"/>
                    <a:pt x="72035" y="53558"/>
                    <a:pt x="72035" y="56995"/>
                  </a:cubicBezTo>
                  <a:lnTo>
                    <a:pt x="72035" y="68479"/>
                  </a:lnTo>
                  <a:cubicBezTo>
                    <a:pt x="72035" y="71726"/>
                    <a:pt x="70505" y="73066"/>
                    <a:pt x="67048" y="73066"/>
                  </a:cubicBezTo>
                  <a:lnTo>
                    <a:pt x="25931" y="73066"/>
                  </a:lnTo>
                  <a:lnTo>
                    <a:pt x="25931" y="108652"/>
                  </a:lnTo>
                  <a:lnTo>
                    <a:pt x="72237" y="108652"/>
                  </a:lnTo>
                  <a:cubicBezTo>
                    <a:pt x="75688" y="108652"/>
                    <a:pt x="77046" y="109791"/>
                    <a:pt x="77046" y="113251"/>
                  </a:cubicBezTo>
                  <a:lnTo>
                    <a:pt x="77046" y="125290"/>
                  </a:lnTo>
                  <a:cubicBezTo>
                    <a:pt x="77046" y="128733"/>
                    <a:pt x="75688" y="130079"/>
                    <a:pt x="72237" y="130079"/>
                  </a:cubicBezTo>
                  <a:lnTo>
                    <a:pt x="4607" y="13007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A12B208-DDE2-824D-24ED-ED46595396F3}"/>
                </a:ext>
              </a:extLst>
            </p:cNvPr>
            <p:cNvSpPr/>
            <p:nvPr/>
          </p:nvSpPr>
          <p:spPr>
            <a:xfrm>
              <a:off x="11019467" y="6634810"/>
              <a:ext cx="91450" cy="130067"/>
            </a:xfrm>
            <a:custGeom>
              <a:avLst/>
              <a:gdLst>
                <a:gd name="connsiteX0" fmla="*/ 25931 w 91450"/>
                <a:gd name="connsiteY0" fmla="*/ 80530 h 130067"/>
                <a:gd name="connsiteX1" fmla="*/ 25931 w 91450"/>
                <a:gd name="connsiteY1" fmla="*/ 125101 h 130067"/>
                <a:gd name="connsiteX2" fmla="*/ 21324 w 91450"/>
                <a:gd name="connsiteY2" fmla="*/ 130067 h 130067"/>
                <a:gd name="connsiteX3" fmla="*/ 4625 w 91450"/>
                <a:gd name="connsiteY3" fmla="*/ 130067 h 130067"/>
                <a:gd name="connsiteX4" fmla="*/ 0 w 91450"/>
                <a:gd name="connsiteY4" fmla="*/ 125101 h 130067"/>
                <a:gd name="connsiteX5" fmla="*/ 0 w 91450"/>
                <a:gd name="connsiteY5" fmla="*/ 4971 h 130067"/>
                <a:gd name="connsiteX6" fmla="*/ 4625 w 91450"/>
                <a:gd name="connsiteY6" fmla="*/ 0 h 130067"/>
                <a:gd name="connsiteX7" fmla="*/ 44954 w 91450"/>
                <a:gd name="connsiteY7" fmla="*/ 0 h 130067"/>
                <a:gd name="connsiteX8" fmla="*/ 91449 w 91450"/>
                <a:gd name="connsiteY8" fmla="*/ 31175 h 130067"/>
                <a:gd name="connsiteX9" fmla="*/ 91449 w 91450"/>
                <a:gd name="connsiteY9" fmla="*/ 49349 h 130067"/>
                <a:gd name="connsiteX10" fmla="*/ 70327 w 91450"/>
                <a:gd name="connsiteY10" fmla="*/ 76898 h 130067"/>
                <a:gd name="connsiteX11" fmla="*/ 91064 w 91450"/>
                <a:gd name="connsiteY11" fmla="*/ 125101 h 130067"/>
                <a:gd name="connsiteX12" fmla="*/ 86646 w 91450"/>
                <a:gd name="connsiteY12" fmla="*/ 130067 h 130067"/>
                <a:gd name="connsiteX13" fmla="*/ 69752 w 91450"/>
                <a:gd name="connsiteY13" fmla="*/ 130067 h 130067"/>
                <a:gd name="connsiteX14" fmla="*/ 64937 w 91450"/>
                <a:gd name="connsiteY14" fmla="*/ 125101 h 130067"/>
                <a:gd name="connsiteX15" fmla="*/ 46110 w 91450"/>
                <a:gd name="connsiteY15" fmla="*/ 80530 h 130067"/>
                <a:gd name="connsiteX16" fmla="*/ 25931 w 91450"/>
                <a:gd name="connsiteY16" fmla="*/ 80530 h 130067"/>
                <a:gd name="connsiteX17" fmla="*/ 25931 w 91450"/>
                <a:gd name="connsiteY17" fmla="*/ 21415 h 130067"/>
                <a:gd name="connsiteX18" fmla="*/ 25931 w 91450"/>
                <a:gd name="connsiteY18" fmla="*/ 59097 h 130067"/>
                <a:gd name="connsiteX19" fmla="*/ 44948 w 91450"/>
                <a:gd name="connsiteY19" fmla="*/ 59097 h 130067"/>
                <a:gd name="connsiteX20" fmla="*/ 65708 w 91450"/>
                <a:gd name="connsiteY20" fmla="*/ 44749 h 130067"/>
                <a:gd name="connsiteX21" fmla="*/ 65708 w 91450"/>
                <a:gd name="connsiteY21" fmla="*/ 35769 h 130067"/>
                <a:gd name="connsiteX22" fmla="*/ 44948 w 91450"/>
                <a:gd name="connsiteY22" fmla="*/ 21415 h 130067"/>
                <a:gd name="connsiteX23" fmla="*/ 25931 w 91450"/>
                <a:gd name="connsiteY23" fmla="*/ 21415 h 13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1450" h="130067">
                  <a:moveTo>
                    <a:pt x="25931" y="80530"/>
                  </a:moveTo>
                  <a:lnTo>
                    <a:pt x="25931" y="125101"/>
                  </a:lnTo>
                  <a:cubicBezTo>
                    <a:pt x="25931" y="128544"/>
                    <a:pt x="24781" y="130067"/>
                    <a:pt x="21324" y="130067"/>
                  </a:cubicBezTo>
                  <a:lnTo>
                    <a:pt x="4625" y="130067"/>
                  </a:lnTo>
                  <a:cubicBezTo>
                    <a:pt x="1156" y="130067"/>
                    <a:pt x="0" y="128544"/>
                    <a:pt x="0" y="125101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25" y="0"/>
                  </a:cubicBezTo>
                  <a:lnTo>
                    <a:pt x="44954" y="0"/>
                  </a:lnTo>
                  <a:cubicBezTo>
                    <a:pt x="79732" y="0"/>
                    <a:pt x="91449" y="15109"/>
                    <a:pt x="91449" y="31175"/>
                  </a:cubicBezTo>
                  <a:lnTo>
                    <a:pt x="91449" y="49349"/>
                  </a:lnTo>
                  <a:cubicBezTo>
                    <a:pt x="91449" y="60632"/>
                    <a:pt x="85679" y="71348"/>
                    <a:pt x="70327" y="76898"/>
                  </a:cubicBezTo>
                  <a:lnTo>
                    <a:pt x="91064" y="125101"/>
                  </a:lnTo>
                  <a:cubicBezTo>
                    <a:pt x="92404" y="128160"/>
                    <a:pt x="90103" y="130067"/>
                    <a:pt x="86646" y="130067"/>
                  </a:cubicBezTo>
                  <a:lnTo>
                    <a:pt x="69752" y="130067"/>
                  </a:lnTo>
                  <a:cubicBezTo>
                    <a:pt x="67054" y="130067"/>
                    <a:pt x="66289" y="128154"/>
                    <a:pt x="64937" y="125101"/>
                  </a:cubicBezTo>
                  <a:lnTo>
                    <a:pt x="46110" y="80530"/>
                  </a:lnTo>
                  <a:lnTo>
                    <a:pt x="25931" y="80530"/>
                  </a:lnTo>
                  <a:close/>
                  <a:moveTo>
                    <a:pt x="25931" y="21415"/>
                  </a:moveTo>
                  <a:lnTo>
                    <a:pt x="25931" y="59097"/>
                  </a:lnTo>
                  <a:lnTo>
                    <a:pt x="44948" y="59097"/>
                  </a:lnTo>
                  <a:cubicBezTo>
                    <a:pt x="57821" y="59097"/>
                    <a:pt x="65708" y="54320"/>
                    <a:pt x="65708" y="44749"/>
                  </a:cubicBezTo>
                  <a:lnTo>
                    <a:pt x="65708" y="35769"/>
                  </a:lnTo>
                  <a:cubicBezTo>
                    <a:pt x="65708" y="26204"/>
                    <a:pt x="57827" y="21415"/>
                    <a:pt x="44948" y="21415"/>
                  </a:cubicBezTo>
                  <a:lnTo>
                    <a:pt x="25931" y="21415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C8CA5439-1B64-22B6-792A-1EC85C879A31}"/>
                </a:ext>
              </a:extLst>
            </p:cNvPr>
            <p:cNvSpPr/>
            <p:nvPr/>
          </p:nvSpPr>
          <p:spPr>
            <a:xfrm>
              <a:off x="11158663" y="6634615"/>
              <a:ext cx="2698" cy="130887"/>
            </a:xfrm>
            <a:custGeom>
              <a:avLst/>
              <a:gdLst>
                <a:gd name="connsiteX0" fmla="*/ 0 w 2698"/>
                <a:gd name="connsiteY0" fmla="*/ 0 h 130887"/>
                <a:gd name="connsiteX1" fmla="*/ 2698 w 2698"/>
                <a:gd name="connsiteY1" fmla="*/ 0 h 130887"/>
                <a:gd name="connsiteX2" fmla="*/ 2698 w 2698"/>
                <a:gd name="connsiteY2" fmla="*/ 130888 h 130887"/>
                <a:gd name="connsiteX3" fmla="*/ 0 w 2698"/>
                <a:gd name="connsiteY3" fmla="*/ 130888 h 130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8" h="130887">
                  <a:moveTo>
                    <a:pt x="0" y="0"/>
                  </a:moveTo>
                  <a:lnTo>
                    <a:pt x="2698" y="0"/>
                  </a:lnTo>
                  <a:lnTo>
                    <a:pt x="2698" y="130888"/>
                  </a:lnTo>
                  <a:lnTo>
                    <a:pt x="0" y="13088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1567F9EC-7715-6504-4C14-0A1F7CC7B74F}"/>
                </a:ext>
              </a:extLst>
            </p:cNvPr>
            <p:cNvSpPr/>
            <p:nvPr/>
          </p:nvSpPr>
          <p:spPr>
            <a:xfrm>
              <a:off x="11206955" y="6634013"/>
              <a:ext cx="41295" cy="57537"/>
            </a:xfrm>
            <a:custGeom>
              <a:avLst/>
              <a:gdLst>
                <a:gd name="connsiteX0" fmla="*/ 1785 w 41295"/>
                <a:gd name="connsiteY0" fmla="*/ 57538 h 57537"/>
                <a:gd name="connsiteX1" fmla="*/ 0 w 41295"/>
                <a:gd name="connsiteY1" fmla="*/ 55336 h 57537"/>
                <a:gd name="connsiteX2" fmla="*/ 0 w 41295"/>
                <a:gd name="connsiteY2" fmla="*/ 2202 h 57537"/>
                <a:gd name="connsiteX3" fmla="*/ 2040 w 41295"/>
                <a:gd name="connsiteY3" fmla="*/ 0 h 57537"/>
                <a:gd name="connsiteX4" fmla="*/ 20564 w 41295"/>
                <a:gd name="connsiteY4" fmla="*/ 0 h 57537"/>
                <a:gd name="connsiteX5" fmla="*/ 41295 w 41295"/>
                <a:gd name="connsiteY5" fmla="*/ 13793 h 57537"/>
                <a:gd name="connsiteX6" fmla="*/ 41295 w 41295"/>
                <a:gd name="connsiteY6" fmla="*/ 43745 h 57537"/>
                <a:gd name="connsiteX7" fmla="*/ 20564 w 41295"/>
                <a:gd name="connsiteY7" fmla="*/ 57538 h 57537"/>
                <a:gd name="connsiteX8" fmla="*/ 1779 w 41295"/>
                <a:gd name="connsiteY8" fmla="*/ 57538 h 57537"/>
                <a:gd name="connsiteX9" fmla="*/ 11468 w 41295"/>
                <a:gd name="connsiteY9" fmla="*/ 9476 h 57537"/>
                <a:gd name="connsiteX10" fmla="*/ 11468 w 41295"/>
                <a:gd name="connsiteY10" fmla="*/ 48061 h 57537"/>
                <a:gd name="connsiteX11" fmla="*/ 20564 w 41295"/>
                <a:gd name="connsiteY11" fmla="*/ 48061 h 57537"/>
                <a:gd name="connsiteX12" fmla="*/ 29821 w 41295"/>
                <a:gd name="connsiteY12" fmla="*/ 41714 h 57537"/>
                <a:gd name="connsiteX13" fmla="*/ 29821 w 41295"/>
                <a:gd name="connsiteY13" fmla="*/ 15824 h 57537"/>
                <a:gd name="connsiteX14" fmla="*/ 20564 w 41295"/>
                <a:gd name="connsiteY14" fmla="*/ 9476 h 57537"/>
                <a:gd name="connsiteX15" fmla="*/ 11468 w 41295"/>
                <a:gd name="connsiteY15" fmla="*/ 9476 h 5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295" h="57537">
                  <a:moveTo>
                    <a:pt x="1785" y="57538"/>
                  </a:moveTo>
                  <a:cubicBezTo>
                    <a:pt x="427" y="57538"/>
                    <a:pt x="0" y="56776"/>
                    <a:pt x="0" y="55336"/>
                  </a:cubicBezTo>
                  <a:lnTo>
                    <a:pt x="0" y="2202"/>
                  </a:lnTo>
                  <a:cubicBezTo>
                    <a:pt x="0" y="679"/>
                    <a:pt x="510" y="0"/>
                    <a:pt x="2040" y="0"/>
                  </a:cubicBezTo>
                  <a:lnTo>
                    <a:pt x="20564" y="0"/>
                  </a:lnTo>
                  <a:cubicBezTo>
                    <a:pt x="35946" y="0"/>
                    <a:pt x="41295" y="6684"/>
                    <a:pt x="41295" y="13793"/>
                  </a:cubicBezTo>
                  <a:lnTo>
                    <a:pt x="41295" y="43745"/>
                  </a:lnTo>
                  <a:cubicBezTo>
                    <a:pt x="41295" y="50854"/>
                    <a:pt x="35940" y="57538"/>
                    <a:pt x="20564" y="57538"/>
                  </a:cubicBezTo>
                  <a:lnTo>
                    <a:pt x="1779" y="57538"/>
                  </a:lnTo>
                  <a:close/>
                  <a:moveTo>
                    <a:pt x="11468" y="9476"/>
                  </a:moveTo>
                  <a:lnTo>
                    <a:pt x="11468" y="48061"/>
                  </a:lnTo>
                  <a:lnTo>
                    <a:pt x="20564" y="48061"/>
                  </a:lnTo>
                  <a:cubicBezTo>
                    <a:pt x="26340" y="48061"/>
                    <a:pt x="29821" y="45942"/>
                    <a:pt x="29821" y="41714"/>
                  </a:cubicBezTo>
                  <a:lnTo>
                    <a:pt x="29821" y="15824"/>
                  </a:lnTo>
                  <a:cubicBezTo>
                    <a:pt x="29821" y="11590"/>
                    <a:pt x="26340" y="9476"/>
                    <a:pt x="20564" y="9476"/>
                  </a:cubicBezTo>
                  <a:lnTo>
                    <a:pt x="11468" y="947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33357377-9478-25CB-394A-401DE992B41A}"/>
                </a:ext>
              </a:extLst>
            </p:cNvPr>
            <p:cNvSpPr/>
            <p:nvPr/>
          </p:nvSpPr>
          <p:spPr>
            <a:xfrm>
              <a:off x="11257436" y="6648738"/>
              <a:ext cx="34499" cy="43491"/>
            </a:xfrm>
            <a:custGeom>
              <a:avLst/>
              <a:gdLst>
                <a:gd name="connsiteX0" fmla="*/ 34494 w 34499"/>
                <a:gd name="connsiteY0" fmla="*/ 22248 h 43491"/>
                <a:gd name="connsiteX1" fmla="*/ 32626 w 34499"/>
                <a:gd name="connsiteY1" fmla="*/ 24196 h 43491"/>
                <a:gd name="connsiteX2" fmla="*/ 10875 w 34499"/>
                <a:gd name="connsiteY2" fmla="*/ 24196 h 43491"/>
                <a:gd name="connsiteX3" fmla="*/ 10875 w 34499"/>
                <a:gd name="connsiteY3" fmla="*/ 30461 h 43491"/>
                <a:gd name="connsiteX4" fmla="*/ 17505 w 34499"/>
                <a:gd name="connsiteY4" fmla="*/ 35113 h 43491"/>
                <a:gd name="connsiteX5" fmla="*/ 24134 w 34499"/>
                <a:gd name="connsiteY5" fmla="*/ 30461 h 43491"/>
                <a:gd name="connsiteX6" fmla="*/ 24134 w 34499"/>
                <a:gd name="connsiteY6" fmla="*/ 30035 h 43491"/>
                <a:gd name="connsiteX7" fmla="*/ 26257 w 34499"/>
                <a:gd name="connsiteY7" fmla="*/ 27922 h 43491"/>
                <a:gd name="connsiteX8" fmla="*/ 32205 w 34499"/>
                <a:gd name="connsiteY8" fmla="*/ 27922 h 43491"/>
                <a:gd name="connsiteX9" fmla="*/ 34328 w 34499"/>
                <a:gd name="connsiteY9" fmla="*/ 30035 h 43491"/>
                <a:gd name="connsiteX10" fmla="*/ 34328 w 34499"/>
                <a:gd name="connsiteY10" fmla="*/ 30968 h 43491"/>
                <a:gd name="connsiteX11" fmla="*/ 17416 w 34499"/>
                <a:gd name="connsiteY11" fmla="*/ 43491 h 43491"/>
                <a:gd name="connsiteX12" fmla="*/ 0 w 34499"/>
                <a:gd name="connsiteY12" fmla="*/ 30968 h 43491"/>
                <a:gd name="connsiteX13" fmla="*/ 0 w 34499"/>
                <a:gd name="connsiteY13" fmla="*/ 12435 h 43491"/>
                <a:gd name="connsiteX14" fmla="*/ 17505 w 34499"/>
                <a:gd name="connsiteY14" fmla="*/ 0 h 43491"/>
                <a:gd name="connsiteX15" fmla="*/ 34499 w 34499"/>
                <a:gd name="connsiteY15" fmla="*/ 12435 h 43491"/>
                <a:gd name="connsiteX16" fmla="*/ 34499 w 34499"/>
                <a:gd name="connsiteY16" fmla="*/ 22254 h 43491"/>
                <a:gd name="connsiteX17" fmla="*/ 10869 w 34499"/>
                <a:gd name="connsiteY17" fmla="*/ 16751 h 43491"/>
                <a:gd name="connsiteX18" fmla="*/ 24128 w 34499"/>
                <a:gd name="connsiteY18" fmla="*/ 16751 h 43491"/>
                <a:gd name="connsiteX19" fmla="*/ 24128 w 34499"/>
                <a:gd name="connsiteY19" fmla="*/ 13025 h 43491"/>
                <a:gd name="connsiteX20" fmla="*/ 17499 w 34499"/>
                <a:gd name="connsiteY20" fmla="*/ 8372 h 43491"/>
                <a:gd name="connsiteX21" fmla="*/ 10869 w 34499"/>
                <a:gd name="connsiteY21" fmla="*/ 13025 h 43491"/>
                <a:gd name="connsiteX22" fmla="*/ 10869 w 34499"/>
                <a:gd name="connsiteY22" fmla="*/ 16751 h 43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499" h="43491">
                  <a:moveTo>
                    <a:pt x="34494" y="22248"/>
                  </a:moveTo>
                  <a:cubicBezTo>
                    <a:pt x="34494" y="23600"/>
                    <a:pt x="33984" y="24196"/>
                    <a:pt x="32626" y="24196"/>
                  </a:cubicBezTo>
                  <a:lnTo>
                    <a:pt x="10875" y="24196"/>
                  </a:lnTo>
                  <a:lnTo>
                    <a:pt x="10875" y="30461"/>
                  </a:lnTo>
                  <a:cubicBezTo>
                    <a:pt x="10875" y="33419"/>
                    <a:pt x="12488" y="35113"/>
                    <a:pt x="17505" y="35113"/>
                  </a:cubicBezTo>
                  <a:cubicBezTo>
                    <a:pt x="22521" y="35113"/>
                    <a:pt x="24134" y="33419"/>
                    <a:pt x="24134" y="30461"/>
                  </a:cubicBezTo>
                  <a:lnTo>
                    <a:pt x="24134" y="30035"/>
                  </a:lnTo>
                  <a:cubicBezTo>
                    <a:pt x="24134" y="28595"/>
                    <a:pt x="24727" y="27922"/>
                    <a:pt x="26257" y="27922"/>
                  </a:cubicBezTo>
                  <a:lnTo>
                    <a:pt x="32205" y="27922"/>
                  </a:lnTo>
                  <a:cubicBezTo>
                    <a:pt x="33652" y="27922"/>
                    <a:pt x="34328" y="28595"/>
                    <a:pt x="34328" y="30035"/>
                  </a:cubicBezTo>
                  <a:lnTo>
                    <a:pt x="34328" y="30968"/>
                  </a:lnTo>
                  <a:cubicBezTo>
                    <a:pt x="34328" y="38585"/>
                    <a:pt x="29910" y="43491"/>
                    <a:pt x="17416" y="43491"/>
                  </a:cubicBezTo>
                  <a:cubicBezTo>
                    <a:pt x="4922" y="43491"/>
                    <a:pt x="0" y="38585"/>
                    <a:pt x="0" y="30968"/>
                  </a:cubicBezTo>
                  <a:lnTo>
                    <a:pt x="0" y="12435"/>
                  </a:lnTo>
                  <a:cubicBezTo>
                    <a:pt x="0" y="4907"/>
                    <a:pt x="5011" y="0"/>
                    <a:pt x="17505" y="0"/>
                  </a:cubicBezTo>
                  <a:cubicBezTo>
                    <a:pt x="29999" y="0"/>
                    <a:pt x="34499" y="4907"/>
                    <a:pt x="34499" y="12435"/>
                  </a:cubicBezTo>
                  <a:lnTo>
                    <a:pt x="34499" y="22254"/>
                  </a:lnTo>
                  <a:close/>
                  <a:moveTo>
                    <a:pt x="10869" y="16751"/>
                  </a:moveTo>
                  <a:lnTo>
                    <a:pt x="24128" y="16751"/>
                  </a:lnTo>
                  <a:lnTo>
                    <a:pt x="24128" y="13025"/>
                  </a:lnTo>
                  <a:cubicBezTo>
                    <a:pt x="24128" y="10067"/>
                    <a:pt x="22260" y="8372"/>
                    <a:pt x="17499" y="8372"/>
                  </a:cubicBezTo>
                  <a:cubicBezTo>
                    <a:pt x="12737" y="8372"/>
                    <a:pt x="10869" y="10067"/>
                    <a:pt x="10869" y="13025"/>
                  </a:cubicBezTo>
                  <a:lnTo>
                    <a:pt x="10869" y="16751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60CDC21E-64D5-67A6-AE1A-BD348BC1F3D3}"/>
                </a:ext>
              </a:extLst>
            </p:cNvPr>
            <p:cNvSpPr/>
            <p:nvPr/>
          </p:nvSpPr>
          <p:spPr>
            <a:xfrm>
              <a:off x="11206944" y="6705987"/>
              <a:ext cx="51595" cy="57537"/>
            </a:xfrm>
            <a:custGeom>
              <a:avLst/>
              <a:gdLst>
                <a:gd name="connsiteX0" fmla="*/ 51595 w 51595"/>
                <a:gd name="connsiteY0" fmla="*/ 55424 h 57537"/>
                <a:gd name="connsiteX1" fmla="*/ 49555 w 51595"/>
                <a:gd name="connsiteY1" fmla="*/ 57538 h 57537"/>
                <a:gd name="connsiteX2" fmla="*/ 42499 w 51595"/>
                <a:gd name="connsiteY2" fmla="*/ 57538 h 57537"/>
                <a:gd name="connsiteX3" fmla="*/ 40459 w 51595"/>
                <a:gd name="connsiteY3" fmla="*/ 55424 h 57537"/>
                <a:gd name="connsiteX4" fmla="*/ 40459 w 51595"/>
                <a:gd name="connsiteY4" fmla="*/ 23269 h 57537"/>
                <a:gd name="connsiteX5" fmla="*/ 37992 w 51595"/>
                <a:gd name="connsiteY5" fmla="*/ 30968 h 57537"/>
                <a:gd name="connsiteX6" fmla="*/ 31529 w 51595"/>
                <a:gd name="connsiteY6" fmla="*/ 46703 h 57537"/>
                <a:gd name="connsiteX7" fmla="*/ 28724 w 51595"/>
                <a:gd name="connsiteY7" fmla="*/ 48817 h 57537"/>
                <a:gd name="connsiteX8" fmla="*/ 22693 w 51595"/>
                <a:gd name="connsiteY8" fmla="*/ 48817 h 57537"/>
                <a:gd name="connsiteX9" fmla="*/ 19972 w 51595"/>
                <a:gd name="connsiteY9" fmla="*/ 46703 h 57537"/>
                <a:gd name="connsiteX10" fmla="*/ 12749 w 51595"/>
                <a:gd name="connsiteY10" fmla="*/ 29693 h 57537"/>
                <a:gd name="connsiteX11" fmla="*/ 10792 w 51595"/>
                <a:gd name="connsiteY11" fmla="*/ 23434 h 57537"/>
                <a:gd name="connsiteX12" fmla="*/ 10792 w 51595"/>
                <a:gd name="connsiteY12" fmla="*/ 55418 h 57537"/>
                <a:gd name="connsiteX13" fmla="*/ 8752 w 51595"/>
                <a:gd name="connsiteY13" fmla="*/ 57532 h 57537"/>
                <a:gd name="connsiteX14" fmla="*/ 2040 w 51595"/>
                <a:gd name="connsiteY14" fmla="*/ 57532 h 57537"/>
                <a:gd name="connsiteX15" fmla="*/ 0 w 51595"/>
                <a:gd name="connsiteY15" fmla="*/ 55418 h 57537"/>
                <a:gd name="connsiteX16" fmla="*/ 0 w 51595"/>
                <a:gd name="connsiteY16" fmla="*/ 2114 h 57537"/>
                <a:gd name="connsiteX17" fmla="*/ 2040 w 51595"/>
                <a:gd name="connsiteY17" fmla="*/ 0 h 57537"/>
                <a:gd name="connsiteX18" fmla="*/ 8752 w 51595"/>
                <a:gd name="connsiteY18" fmla="*/ 0 h 57537"/>
                <a:gd name="connsiteX19" fmla="*/ 10620 w 51595"/>
                <a:gd name="connsiteY19" fmla="*/ 1187 h 57537"/>
                <a:gd name="connsiteX20" fmla="*/ 23624 w 51595"/>
                <a:gd name="connsiteY20" fmla="*/ 30714 h 57537"/>
                <a:gd name="connsiteX21" fmla="*/ 25747 w 51595"/>
                <a:gd name="connsiteY21" fmla="*/ 36637 h 57537"/>
                <a:gd name="connsiteX22" fmla="*/ 27953 w 51595"/>
                <a:gd name="connsiteY22" fmla="*/ 30797 h 57537"/>
                <a:gd name="connsiteX23" fmla="*/ 40530 w 51595"/>
                <a:gd name="connsiteY23" fmla="*/ 1016 h 57537"/>
                <a:gd name="connsiteX24" fmla="*/ 42487 w 51595"/>
                <a:gd name="connsiteY24" fmla="*/ 0 h 57537"/>
                <a:gd name="connsiteX25" fmla="*/ 49543 w 51595"/>
                <a:gd name="connsiteY25" fmla="*/ 0 h 57537"/>
                <a:gd name="connsiteX26" fmla="*/ 51583 w 51595"/>
                <a:gd name="connsiteY26" fmla="*/ 2114 h 57537"/>
                <a:gd name="connsiteX27" fmla="*/ 51583 w 51595"/>
                <a:gd name="connsiteY27" fmla="*/ 55418 h 5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1595" h="57537">
                  <a:moveTo>
                    <a:pt x="51595" y="55424"/>
                  </a:moveTo>
                  <a:cubicBezTo>
                    <a:pt x="51595" y="56865"/>
                    <a:pt x="51085" y="57538"/>
                    <a:pt x="49555" y="57538"/>
                  </a:cubicBezTo>
                  <a:lnTo>
                    <a:pt x="42499" y="57538"/>
                  </a:lnTo>
                  <a:cubicBezTo>
                    <a:pt x="40969" y="57538"/>
                    <a:pt x="40459" y="56865"/>
                    <a:pt x="40459" y="55424"/>
                  </a:cubicBezTo>
                  <a:lnTo>
                    <a:pt x="40459" y="23269"/>
                  </a:lnTo>
                  <a:cubicBezTo>
                    <a:pt x="40376" y="23523"/>
                    <a:pt x="38846" y="28683"/>
                    <a:pt x="37992" y="30968"/>
                  </a:cubicBezTo>
                  <a:lnTo>
                    <a:pt x="31529" y="46703"/>
                  </a:lnTo>
                  <a:cubicBezTo>
                    <a:pt x="30936" y="48056"/>
                    <a:pt x="30171" y="48817"/>
                    <a:pt x="28724" y="48817"/>
                  </a:cubicBezTo>
                  <a:lnTo>
                    <a:pt x="22693" y="48817"/>
                  </a:lnTo>
                  <a:cubicBezTo>
                    <a:pt x="21246" y="48817"/>
                    <a:pt x="20487" y="47973"/>
                    <a:pt x="19972" y="46703"/>
                  </a:cubicBezTo>
                  <a:lnTo>
                    <a:pt x="12749" y="29693"/>
                  </a:lnTo>
                  <a:cubicBezTo>
                    <a:pt x="11895" y="27916"/>
                    <a:pt x="10881" y="24025"/>
                    <a:pt x="10792" y="23434"/>
                  </a:cubicBezTo>
                  <a:lnTo>
                    <a:pt x="10792" y="55418"/>
                  </a:lnTo>
                  <a:cubicBezTo>
                    <a:pt x="10792" y="56859"/>
                    <a:pt x="10282" y="57532"/>
                    <a:pt x="8752" y="57532"/>
                  </a:cubicBezTo>
                  <a:lnTo>
                    <a:pt x="2040" y="57532"/>
                  </a:lnTo>
                  <a:cubicBezTo>
                    <a:pt x="510" y="57532"/>
                    <a:pt x="0" y="56859"/>
                    <a:pt x="0" y="55418"/>
                  </a:cubicBezTo>
                  <a:lnTo>
                    <a:pt x="0" y="2114"/>
                  </a:lnTo>
                  <a:cubicBezTo>
                    <a:pt x="0" y="673"/>
                    <a:pt x="510" y="0"/>
                    <a:pt x="2040" y="0"/>
                  </a:cubicBezTo>
                  <a:lnTo>
                    <a:pt x="8752" y="0"/>
                  </a:lnTo>
                  <a:cubicBezTo>
                    <a:pt x="9855" y="0"/>
                    <a:pt x="10276" y="425"/>
                    <a:pt x="10620" y="1187"/>
                  </a:cubicBezTo>
                  <a:lnTo>
                    <a:pt x="23624" y="30714"/>
                  </a:lnTo>
                  <a:cubicBezTo>
                    <a:pt x="24644" y="32999"/>
                    <a:pt x="25747" y="36637"/>
                    <a:pt x="25747" y="36637"/>
                  </a:cubicBezTo>
                  <a:cubicBezTo>
                    <a:pt x="25747" y="36637"/>
                    <a:pt x="26850" y="33336"/>
                    <a:pt x="27953" y="30797"/>
                  </a:cubicBezTo>
                  <a:lnTo>
                    <a:pt x="40530" y="1016"/>
                  </a:lnTo>
                  <a:cubicBezTo>
                    <a:pt x="40874" y="254"/>
                    <a:pt x="41467" y="0"/>
                    <a:pt x="42487" y="0"/>
                  </a:cubicBezTo>
                  <a:lnTo>
                    <a:pt x="49543" y="0"/>
                  </a:lnTo>
                  <a:cubicBezTo>
                    <a:pt x="51073" y="0"/>
                    <a:pt x="51583" y="679"/>
                    <a:pt x="51583" y="2114"/>
                  </a:cubicBezTo>
                  <a:lnTo>
                    <a:pt x="51583" y="5541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6CCFDD3B-A4D7-51FF-0689-B57602629892}"/>
                </a:ext>
              </a:extLst>
            </p:cNvPr>
            <p:cNvSpPr/>
            <p:nvPr/>
          </p:nvSpPr>
          <p:spPr>
            <a:xfrm>
              <a:off x="11307122" y="6721391"/>
              <a:ext cx="38532" cy="42133"/>
            </a:xfrm>
            <a:custGeom>
              <a:avLst/>
              <a:gdLst>
                <a:gd name="connsiteX0" fmla="*/ 38175 w 38532"/>
                <a:gd name="connsiteY0" fmla="*/ 40020 h 42133"/>
                <a:gd name="connsiteX1" fmla="*/ 37072 w 38532"/>
                <a:gd name="connsiteY1" fmla="*/ 42133 h 42133"/>
                <a:gd name="connsiteX2" fmla="*/ 29423 w 38532"/>
                <a:gd name="connsiteY2" fmla="*/ 42133 h 42133"/>
                <a:gd name="connsiteX3" fmla="*/ 26446 w 38532"/>
                <a:gd name="connsiteY3" fmla="*/ 40020 h 42133"/>
                <a:gd name="connsiteX4" fmla="*/ 18631 w 38532"/>
                <a:gd name="connsiteY4" fmla="*/ 28512 h 42133"/>
                <a:gd name="connsiteX5" fmla="*/ 11153 w 38532"/>
                <a:gd name="connsiteY5" fmla="*/ 40020 h 42133"/>
                <a:gd name="connsiteX6" fmla="*/ 8176 w 38532"/>
                <a:gd name="connsiteY6" fmla="*/ 42133 h 42133"/>
                <a:gd name="connsiteX7" fmla="*/ 1375 w 38532"/>
                <a:gd name="connsiteY7" fmla="*/ 42133 h 42133"/>
                <a:gd name="connsiteX8" fmla="*/ 361 w 38532"/>
                <a:gd name="connsiteY8" fmla="*/ 40020 h 42133"/>
                <a:gd name="connsiteX9" fmla="*/ 13365 w 38532"/>
                <a:gd name="connsiteY9" fmla="*/ 20648 h 42133"/>
                <a:gd name="connsiteX10" fmla="*/ 954 w 38532"/>
                <a:gd name="connsiteY10" fmla="*/ 2114 h 42133"/>
                <a:gd name="connsiteX11" fmla="*/ 1974 w 38532"/>
                <a:gd name="connsiteY11" fmla="*/ 0 h 42133"/>
                <a:gd name="connsiteX12" fmla="*/ 9623 w 38532"/>
                <a:gd name="connsiteY12" fmla="*/ 0 h 42133"/>
                <a:gd name="connsiteX13" fmla="*/ 12766 w 38532"/>
                <a:gd name="connsiteY13" fmla="*/ 2114 h 42133"/>
                <a:gd name="connsiteX14" fmla="*/ 20161 w 38532"/>
                <a:gd name="connsiteY14" fmla="*/ 13114 h 42133"/>
                <a:gd name="connsiteX15" fmla="*/ 27128 w 38532"/>
                <a:gd name="connsiteY15" fmla="*/ 2114 h 42133"/>
                <a:gd name="connsiteX16" fmla="*/ 30188 w 38532"/>
                <a:gd name="connsiteY16" fmla="*/ 0 h 42133"/>
                <a:gd name="connsiteX17" fmla="*/ 36989 w 38532"/>
                <a:gd name="connsiteY17" fmla="*/ 0 h 42133"/>
                <a:gd name="connsiteX18" fmla="*/ 38009 w 38532"/>
                <a:gd name="connsiteY18" fmla="*/ 2114 h 42133"/>
                <a:gd name="connsiteX19" fmla="*/ 25438 w 38532"/>
                <a:gd name="connsiteY19" fmla="*/ 20984 h 42133"/>
                <a:gd name="connsiteX20" fmla="*/ 38181 w 38532"/>
                <a:gd name="connsiteY20" fmla="*/ 40020 h 42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532" h="42133">
                  <a:moveTo>
                    <a:pt x="38175" y="40020"/>
                  </a:moveTo>
                  <a:cubicBezTo>
                    <a:pt x="38857" y="41035"/>
                    <a:pt x="38602" y="42133"/>
                    <a:pt x="37072" y="42133"/>
                  </a:cubicBezTo>
                  <a:lnTo>
                    <a:pt x="29423" y="42133"/>
                  </a:lnTo>
                  <a:cubicBezTo>
                    <a:pt x="27976" y="42133"/>
                    <a:pt x="27128" y="41035"/>
                    <a:pt x="26446" y="40020"/>
                  </a:cubicBezTo>
                  <a:lnTo>
                    <a:pt x="18631" y="28512"/>
                  </a:lnTo>
                  <a:lnTo>
                    <a:pt x="11153" y="40020"/>
                  </a:lnTo>
                  <a:cubicBezTo>
                    <a:pt x="10471" y="41035"/>
                    <a:pt x="9706" y="42133"/>
                    <a:pt x="8176" y="42133"/>
                  </a:cubicBezTo>
                  <a:lnTo>
                    <a:pt x="1375" y="42133"/>
                  </a:lnTo>
                  <a:cubicBezTo>
                    <a:pt x="-66" y="42133"/>
                    <a:pt x="-321" y="41035"/>
                    <a:pt x="361" y="40020"/>
                  </a:cubicBezTo>
                  <a:lnTo>
                    <a:pt x="13365" y="20648"/>
                  </a:lnTo>
                  <a:lnTo>
                    <a:pt x="954" y="2114"/>
                  </a:lnTo>
                  <a:cubicBezTo>
                    <a:pt x="189" y="1016"/>
                    <a:pt x="444" y="0"/>
                    <a:pt x="1974" y="0"/>
                  </a:cubicBezTo>
                  <a:lnTo>
                    <a:pt x="9623" y="0"/>
                  </a:lnTo>
                  <a:cubicBezTo>
                    <a:pt x="11153" y="0"/>
                    <a:pt x="11918" y="933"/>
                    <a:pt x="12766" y="2114"/>
                  </a:cubicBezTo>
                  <a:lnTo>
                    <a:pt x="20161" y="13114"/>
                  </a:lnTo>
                  <a:lnTo>
                    <a:pt x="27128" y="2114"/>
                  </a:lnTo>
                  <a:cubicBezTo>
                    <a:pt x="27893" y="927"/>
                    <a:pt x="28741" y="0"/>
                    <a:pt x="30188" y="0"/>
                  </a:cubicBezTo>
                  <a:lnTo>
                    <a:pt x="36989" y="0"/>
                  </a:lnTo>
                  <a:cubicBezTo>
                    <a:pt x="38436" y="0"/>
                    <a:pt x="38774" y="1016"/>
                    <a:pt x="38009" y="2114"/>
                  </a:cubicBezTo>
                  <a:lnTo>
                    <a:pt x="25438" y="20984"/>
                  </a:lnTo>
                  <a:lnTo>
                    <a:pt x="38181" y="4002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B20A80A-CC01-81B0-83E8-F3A1D716D78D}"/>
                </a:ext>
              </a:extLst>
            </p:cNvPr>
            <p:cNvSpPr/>
            <p:nvPr/>
          </p:nvSpPr>
          <p:spPr>
            <a:xfrm>
              <a:off x="11351921" y="6704381"/>
              <a:ext cx="11136" cy="59149"/>
            </a:xfrm>
            <a:custGeom>
              <a:avLst/>
              <a:gdLst>
                <a:gd name="connsiteX0" fmla="*/ 11136 w 11136"/>
                <a:gd name="connsiteY0" fmla="*/ 9476 h 59149"/>
                <a:gd name="connsiteX1" fmla="*/ 9179 w 11136"/>
                <a:gd name="connsiteY1" fmla="*/ 11508 h 59149"/>
                <a:gd name="connsiteX2" fmla="*/ 2129 w 11136"/>
                <a:gd name="connsiteY2" fmla="*/ 11508 h 59149"/>
                <a:gd name="connsiteX3" fmla="*/ 0 w 11136"/>
                <a:gd name="connsiteY3" fmla="*/ 9476 h 59149"/>
                <a:gd name="connsiteX4" fmla="*/ 0 w 11136"/>
                <a:gd name="connsiteY4" fmla="*/ 2202 h 59149"/>
                <a:gd name="connsiteX5" fmla="*/ 2129 w 11136"/>
                <a:gd name="connsiteY5" fmla="*/ 0 h 59149"/>
                <a:gd name="connsiteX6" fmla="*/ 9179 w 11136"/>
                <a:gd name="connsiteY6" fmla="*/ 0 h 59149"/>
                <a:gd name="connsiteX7" fmla="*/ 11136 w 11136"/>
                <a:gd name="connsiteY7" fmla="*/ 2202 h 59149"/>
                <a:gd name="connsiteX8" fmla="*/ 11136 w 11136"/>
                <a:gd name="connsiteY8" fmla="*/ 9476 h 59149"/>
                <a:gd name="connsiteX9" fmla="*/ 11136 w 11136"/>
                <a:gd name="connsiteY9" fmla="*/ 56948 h 59149"/>
                <a:gd name="connsiteX10" fmla="*/ 9179 w 11136"/>
                <a:gd name="connsiteY10" fmla="*/ 59150 h 59149"/>
                <a:gd name="connsiteX11" fmla="*/ 2129 w 11136"/>
                <a:gd name="connsiteY11" fmla="*/ 59150 h 59149"/>
                <a:gd name="connsiteX12" fmla="*/ 0 w 11136"/>
                <a:gd name="connsiteY12" fmla="*/ 56948 h 59149"/>
                <a:gd name="connsiteX13" fmla="*/ 0 w 11136"/>
                <a:gd name="connsiteY13" fmla="*/ 19124 h 59149"/>
                <a:gd name="connsiteX14" fmla="*/ 2129 w 11136"/>
                <a:gd name="connsiteY14" fmla="*/ 17005 h 59149"/>
                <a:gd name="connsiteX15" fmla="*/ 9179 w 11136"/>
                <a:gd name="connsiteY15" fmla="*/ 17005 h 59149"/>
                <a:gd name="connsiteX16" fmla="*/ 11136 w 11136"/>
                <a:gd name="connsiteY16" fmla="*/ 19124 h 59149"/>
                <a:gd name="connsiteX17" fmla="*/ 11136 w 11136"/>
                <a:gd name="connsiteY17" fmla="*/ 56948 h 5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136" h="59149">
                  <a:moveTo>
                    <a:pt x="11136" y="9476"/>
                  </a:moveTo>
                  <a:cubicBezTo>
                    <a:pt x="11136" y="10917"/>
                    <a:pt x="10626" y="11508"/>
                    <a:pt x="9179" y="11508"/>
                  </a:cubicBezTo>
                  <a:lnTo>
                    <a:pt x="2129" y="11508"/>
                  </a:lnTo>
                  <a:cubicBezTo>
                    <a:pt x="599" y="11508"/>
                    <a:pt x="0" y="10911"/>
                    <a:pt x="0" y="9476"/>
                  </a:cubicBezTo>
                  <a:lnTo>
                    <a:pt x="0" y="2202"/>
                  </a:lnTo>
                  <a:cubicBezTo>
                    <a:pt x="0" y="679"/>
                    <a:pt x="599" y="0"/>
                    <a:pt x="2129" y="0"/>
                  </a:cubicBezTo>
                  <a:lnTo>
                    <a:pt x="9179" y="0"/>
                  </a:lnTo>
                  <a:cubicBezTo>
                    <a:pt x="10626" y="0"/>
                    <a:pt x="11136" y="679"/>
                    <a:pt x="11136" y="2202"/>
                  </a:cubicBezTo>
                  <a:lnTo>
                    <a:pt x="11136" y="9476"/>
                  </a:lnTo>
                  <a:close/>
                  <a:moveTo>
                    <a:pt x="11136" y="56948"/>
                  </a:moveTo>
                  <a:cubicBezTo>
                    <a:pt x="11136" y="58471"/>
                    <a:pt x="10626" y="59150"/>
                    <a:pt x="9179" y="59150"/>
                  </a:cubicBezTo>
                  <a:lnTo>
                    <a:pt x="2129" y="59150"/>
                  </a:lnTo>
                  <a:cubicBezTo>
                    <a:pt x="599" y="59150"/>
                    <a:pt x="0" y="58477"/>
                    <a:pt x="0" y="56948"/>
                  </a:cubicBezTo>
                  <a:lnTo>
                    <a:pt x="0" y="19124"/>
                  </a:lnTo>
                  <a:cubicBezTo>
                    <a:pt x="0" y="17601"/>
                    <a:pt x="599" y="17005"/>
                    <a:pt x="2129" y="17005"/>
                  </a:cubicBezTo>
                  <a:lnTo>
                    <a:pt x="9179" y="17005"/>
                  </a:lnTo>
                  <a:cubicBezTo>
                    <a:pt x="10626" y="17005"/>
                    <a:pt x="11136" y="17595"/>
                    <a:pt x="11136" y="19124"/>
                  </a:cubicBezTo>
                  <a:lnTo>
                    <a:pt x="11136" y="5694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87F1ECE9-0A84-5C26-48B2-3B3832A7FB20}"/>
                </a:ext>
              </a:extLst>
            </p:cNvPr>
            <p:cNvSpPr/>
            <p:nvPr/>
          </p:nvSpPr>
          <p:spPr>
            <a:xfrm>
              <a:off x="11372319" y="6720724"/>
              <a:ext cx="34926" cy="43485"/>
            </a:xfrm>
            <a:custGeom>
              <a:avLst/>
              <a:gdLst>
                <a:gd name="connsiteX0" fmla="*/ 34926 w 34926"/>
                <a:gd name="connsiteY0" fmla="*/ 12429 h 43485"/>
                <a:gd name="connsiteX1" fmla="*/ 34926 w 34926"/>
                <a:gd name="connsiteY1" fmla="*/ 13869 h 43485"/>
                <a:gd name="connsiteX2" fmla="*/ 32887 w 34926"/>
                <a:gd name="connsiteY2" fmla="*/ 15900 h 43485"/>
                <a:gd name="connsiteX3" fmla="*/ 26340 w 34926"/>
                <a:gd name="connsiteY3" fmla="*/ 15900 h 43485"/>
                <a:gd name="connsiteX4" fmla="*/ 24211 w 34926"/>
                <a:gd name="connsiteY4" fmla="*/ 13869 h 43485"/>
                <a:gd name="connsiteX5" fmla="*/ 24211 w 34926"/>
                <a:gd name="connsiteY5" fmla="*/ 13279 h 43485"/>
                <a:gd name="connsiteX6" fmla="*/ 17671 w 34926"/>
                <a:gd name="connsiteY6" fmla="*/ 8797 h 43485"/>
                <a:gd name="connsiteX7" fmla="*/ 11124 w 34926"/>
                <a:gd name="connsiteY7" fmla="*/ 13279 h 43485"/>
                <a:gd name="connsiteX8" fmla="*/ 11124 w 34926"/>
                <a:gd name="connsiteY8" fmla="*/ 30118 h 43485"/>
                <a:gd name="connsiteX9" fmla="*/ 17671 w 34926"/>
                <a:gd name="connsiteY9" fmla="*/ 34688 h 43485"/>
                <a:gd name="connsiteX10" fmla="*/ 24211 w 34926"/>
                <a:gd name="connsiteY10" fmla="*/ 30118 h 43485"/>
                <a:gd name="connsiteX11" fmla="*/ 24211 w 34926"/>
                <a:gd name="connsiteY11" fmla="*/ 28849 h 43485"/>
                <a:gd name="connsiteX12" fmla="*/ 26340 w 34926"/>
                <a:gd name="connsiteY12" fmla="*/ 26735 h 43485"/>
                <a:gd name="connsiteX13" fmla="*/ 32887 w 34926"/>
                <a:gd name="connsiteY13" fmla="*/ 26735 h 43485"/>
                <a:gd name="connsiteX14" fmla="*/ 34926 w 34926"/>
                <a:gd name="connsiteY14" fmla="*/ 28849 h 43485"/>
                <a:gd name="connsiteX15" fmla="*/ 34926 w 34926"/>
                <a:gd name="connsiteY15" fmla="*/ 30962 h 43485"/>
                <a:gd name="connsiteX16" fmla="*/ 17416 w 34926"/>
                <a:gd name="connsiteY16" fmla="*/ 43486 h 43485"/>
                <a:gd name="connsiteX17" fmla="*/ 0 w 34926"/>
                <a:gd name="connsiteY17" fmla="*/ 30962 h 43485"/>
                <a:gd name="connsiteX18" fmla="*/ 0 w 34926"/>
                <a:gd name="connsiteY18" fmla="*/ 12435 h 43485"/>
                <a:gd name="connsiteX19" fmla="*/ 17505 w 34926"/>
                <a:gd name="connsiteY19" fmla="*/ 0 h 43485"/>
                <a:gd name="connsiteX20" fmla="*/ 34926 w 34926"/>
                <a:gd name="connsiteY20" fmla="*/ 12435 h 4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926" h="43485">
                  <a:moveTo>
                    <a:pt x="34926" y="12429"/>
                  </a:moveTo>
                  <a:lnTo>
                    <a:pt x="34926" y="13869"/>
                  </a:lnTo>
                  <a:cubicBezTo>
                    <a:pt x="34926" y="15393"/>
                    <a:pt x="34328" y="15900"/>
                    <a:pt x="32887" y="15900"/>
                  </a:cubicBezTo>
                  <a:lnTo>
                    <a:pt x="26340" y="15900"/>
                  </a:lnTo>
                  <a:cubicBezTo>
                    <a:pt x="24810" y="15900"/>
                    <a:pt x="24211" y="15393"/>
                    <a:pt x="24211" y="13869"/>
                  </a:cubicBezTo>
                  <a:lnTo>
                    <a:pt x="24211" y="13279"/>
                  </a:lnTo>
                  <a:cubicBezTo>
                    <a:pt x="24211" y="10150"/>
                    <a:pt x="22509" y="8797"/>
                    <a:pt x="17671" y="8797"/>
                  </a:cubicBezTo>
                  <a:cubicBezTo>
                    <a:pt x="12832" y="8797"/>
                    <a:pt x="11124" y="10150"/>
                    <a:pt x="11124" y="13279"/>
                  </a:cubicBezTo>
                  <a:lnTo>
                    <a:pt x="11124" y="30118"/>
                  </a:lnTo>
                  <a:cubicBezTo>
                    <a:pt x="11124" y="33247"/>
                    <a:pt x="12826" y="34688"/>
                    <a:pt x="17671" y="34688"/>
                  </a:cubicBezTo>
                  <a:cubicBezTo>
                    <a:pt x="22515" y="34688"/>
                    <a:pt x="24211" y="33247"/>
                    <a:pt x="24211" y="30118"/>
                  </a:cubicBezTo>
                  <a:lnTo>
                    <a:pt x="24211" y="28849"/>
                  </a:lnTo>
                  <a:cubicBezTo>
                    <a:pt x="24211" y="27325"/>
                    <a:pt x="24810" y="26735"/>
                    <a:pt x="26340" y="26735"/>
                  </a:cubicBezTo>
                  <a:lnTo>
                    <a:pt x="32887" y="26735"/>
                  </a:lnTo>
                  <a:cubicBezTo>
                    <a:pt x="34328" y="26735"/>
                    <a:pt x="34926" y="27325"/>
                    <a:pt x="34926" y="28849"/>
                  </a:cubicBezTo>
                  <a:lnTo>
                    <a:pt x="34926" y="30962"/>
                  </a:lnTo>
                  <a:cubicBezTo>
                    <a:pt x="34926" y="38579"/>
                    <a:pt x="29827" y="43486"/>
                    <a:pt x="17416" y="43486"/>
                  </a:cubicBezTo>
                  <a:cubicBezTo>
                    <a:pt x="5005" y="43486"/>
                    <a:pt x="0" y="38579"/>
                    <a:pt x="0" y="30962"/>
                  </a:cubicBezTo>
                  <a:lnTo>
                    <a:pt x="0" y="12435"/>
                  </a:lnTo>
                  <a:cubicBezTo>
                    <a:pt x="0" y="4907"/>
                    <a:pt x="5011" y="0"/>
                    <a:pt x="17505" y="0"/>
                  </a:cubicBezTo>
                  <a:cubicBezTo>
                    <a:pt x="29999" y="0"/>
                    <a:pt x="34926" y="4907"/>
                    <a:pt x="34926" y="12435"/>
                  </a:cubicBezTo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E0B27660-1216-BAAE-6F22-621FAB5A3BA2}"/>
                </a:ext>
              </a:extLst>
            </p:cNvPr>
            <p:cNvSpPr/>
            <p:nvPr/>
          </p:nvSpPr>
          <p:spPr>
            <a:xfrm>
              <a:off x="11414124" y="6720718"/>
              <a:ext cx="36711" cy="43485"/>
            </a:xfrm>
            <a:custGeom>
              <a:avLst/>
              <a:gdLst>
                <a:gd name="connsiteX0" fmla="*/ 0 w 36711"/>
                <a:gd name="connsiteY0" fmla="*/ 12435 h 43485"/>
                <a:gd name="connsiteX1" fmla="*/ 18353 w 36711"/>
                <a:gd name="connsiteY1" fmla="*/ 0 h 43485"/>
                <a:gd name="connsiteX2" fmla="*/ 36711 w 36711"/>
                <a:gd name="connsiteY2" fmla="*/ 12435 h 43485"/>
                <a:gd name="connsiteX3" fmla="*/ 36711 w 36711"/>
                <a:gd name="connsiteY3" fmla="*/ 30962 h 43485"/>
                <a:gd name="connsiteX4" fmla="*/ 18353 w 36711"/>
                <a:gd name="connsiteY4" fmla="*/ 43486 h 43485"/>
                <a:gd name="connsiteX5" fmla="*/ 0 w 36711"/>
                <a:gd name="connsiteY5" fmla="*/ 30962 h 43485"/>
                <a:gd name="connsiteX6" fmla="*/ 0 w 36711"/>
                <a:gd name="connsiteY6" fmla="*/ 12435 h 43485"/>
                <a:gd name="connsiteX7" fmla="*/ 25581 w 36711"/>
                <a:gd name="connsiteY7" fmla="*/ 13367 h 43485"/>
                <a:gd name="connsiteX8" fmla="*/ 18359 w 36711"/>
                <a:gd name="connsiteY8" fmla="*/ 8797 h 43485"/>
                <a:gd name="connsiteX9" fmla="*/ 11136 w 36711"/>
                <a:gd name="connsiteY9" fmla="*/ 13367 h 43485"/>
                <a:gd name="connsiteX10" fmla="*/ 11136 w 36711"/>
                <a:gd name="connsiteY10" fmla="*/ 30035 h 43485"/>
                <a:gd name="connsiteX11" fmla="*/ 18359 w 36711"/>
                <a:gd name="connsiteY11" fmla="*/ 34688 h 43485"/>
                <a:gd name="connsiteX12" fmla="*/ 25581 w 36711"/>
                <a:gd name="connsiteY12" fmla="*/ 30035 h 43485"/>
                <a:gd name="connsiteX13" fmla="*/ 25581 w 36711"/>
                <a:gd name="connsiteY13" fmla="*/ 13367 h 4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711" h="43485">
                  <a:moveTo>
                    <a:pt x="0" y="12435"/>
                  </a:moveTo>
                  <a:cubicBezTo>
                    <a:pt x="0" y="4907"/>
                    <a:pt x="5865" y="0"/>
                    <a:pt x="18353" y="0"/>
                  </a:cubicBezTo>
                  <a:cubicBezTo>
                    <a:pt x="30841" y="0"/>
                    <a:pt x="36711" y="4907"/>
                    <a:pt x="36711" y="12435"/>
                  </a:cubicBezTo>
                  <a:lnTo>
                    <a:pt x="36711" y="30962"/>
                  </a:lnTo>
                  <a:cubicBezTo>
                    <a:pt x="36711" y="38579"/>
                    <a:pt x="30847" y="43486"/>
                    <a:pt x="18353" y="43486"/>
                  </a:cubicBezTo>
                  <a:cubicBezTo>
                    <a:pt x="5859" y="43486"/>
                    <a:pt x="0" y="38579"/>
                    <a:pt x="0" y="30962"/>
                  </a:cubicBezTo>
                  <a:lnTo>
                    <a:pt x="0" y="12435"/>
                  </a:lnTo>
                  <a:close/>
                  <a:moveTo>
                    <a:pt x="25581" y="13367"/>
                  </a:moveTo>
                  <a:cubicBezTo>
                    <a:pt x="25581" y="10238"/>
                    <a:pt x="23114" y="8797"/>
                    <a:pt x="18359" y="8797"/>
                  </a:cubicBezTo>
                  <a:cubicBezTo>
                    <a:pt x="13603" y="8797"/>
                    <a:pt x="11136" y="10238"/>
                    <a:pt x="11136" y="13367"/>
                  </a:cubicBezTo>
                  <a:lnTo>
                    <a:pt x="11136" y="30035"/>
                  </a:lnTo>
                  <a:cubicBezTo>
                    <a:pt x="11136" y="33247"/>
                    <a:pt x="13603" y="34688"/>
                    <a:pt x="18359" y="34688"/>
                  </a:cubicBezTo>
                  <a:cubicBezTo>
                    <a:pt x="23114" y="34688"/>
                    <a:pt x="25581" y="33247"/>
                    <a:pt x="25581" y="30035"/>
                  </a:cubicBezTo>
                  <a:lnTo>
                    <a:pt x="25581" y="13367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308BF91-5568-074C-3E84-EA9D2099621B}"/>
                </a:ext>
              </a:extLst>
            </p:cNvPr>
            <p:cNvSpPr/>
            <p:nvPr/>
          </p:nvSpPr>
          <p:spPr>
            <a:xfrm>
              <a:off x="11268560" y="6703625"/>
              <a:ext cx="34499" cy="60578"/>
            </a:xfrm>
            <a:custGeom>
              <a:avLst/>
              <a:gdLst>
                <a:gd name="connsiteX0" fmla="*/ 34499 w 34499"/>
                <a:gd name="connsiteY0" fmla="*/ 39341 h 60578"/>
                <a:gd name="connsiteX1" fmla="*/ 32632 w 34499"/>
                <a:gd name="connsiteY1" fmla="*/ 41289 h 60578"/>
                <a:gd name="connsiteX2" fmla="*/ 10875 w 34499"/>
                <a:gd name="connsiteY2" fmla="*/ 41289 h 60578"/>
                <a:gd name="connsiteX3" fmla="*/ 10875 w 34499"/>
                <a:gd name="connsiteY3" fmla="*/ 47548 h 60578"/>
                <a:gd name="connsiteX4" fmla="*/ 17505 w 34499"/>
                <a:gd name="connsiteY4" fmla="*/ 52200 h 60578"/>
                <a:gd name="connsiteX5" fmla="*/ 24134 w 34499"/>
                <a:gd name="connsiteY5" fmla="*/ 47548 h 60578"/>
                <a:gd name="connsiteX6" fmla="*/ 24134 w 34499"/>
                <a:gd name="connsiteY6" fmla="*/ 47129 h 60578"/>
                <a:gd name="connsiteX7" fmla="*/ 26263 w 34499"/>
                <a:gd name="connsiteY7" fmla="*/ 45015 h 60578"/>
                <a:gd name="connsiteX8" fmla="*/ 32211 w 34499"/>
                <a:gd name="connsiteY8" fmla="*/ 45015 h 60578"/>
                <a:gd name="connsiteX9" fmla="*/ 34333 w 34499"/>
                <a:gd name="connsiteY9" fmla="*/ 47129 h 60578"/>
                <a:gd name="connsiteX10" fmla="*/ 34333 w 34499"/>
                <a:gd name="connsiteY10" fmla="*/ 48061 h 60578"/>
                <a:gd name="connsiteX11" fmla="*/ 17422 w 34499"/>
                <a:gd name="connsiteY11" fmla="*/ 60579 h 60578"/>
                <a:gd name="connsiteX12" fmla="*/ 0 w 34499"/>
                <a:gd name="connsiteY12" fmla="*/ 48061 h 60578"/>
                <a:gd name="connsiteX13" fmla="*/ 0 w 34499"/>
                <a:gd name="connsiteY13" fmla="*/ 29534 h 60578"/>
                <a:gd name="connsiteX14" fmla="*/ 17505 w 34499"/>
                <a:gd name="connsiteY14" fmla="*/ 17099 h 60578"/>
                <a:gd name="connsiteX15" fmla="*/ 34499 w 34499"/>
                <a:gd name="connsiteY15" fmla="*/ 29534 h 60578"/>
                <a:gd name="connsiteX16" fmla="*/ 34499 w 34499"/>
                <a:gd name="connsiteY16" fmla="*/ 39347 h 60578"/>
                <a:gd name="connsiteX17" fmla="*/ 10881 w 34499"/>
                <a:gd name="connsiteY17" fmla="*/ 33844 h 60578"/>
                <a:gd name="connsiteX18" fmla="*/ 24134 w 34499"/>
                <a:gd name="connsiteY18" fmla="*/ 33844 h 60578"/>
                <a:gd name="connsiteX19" fmla="*/ 24134 w 34499"/>
                <a:gd name="connsiteY19" fmla="*/ 30118 h 60578"/>
                <a:gd name="connsiteX20" fmla="*/ 17505 w 34499"/>
                <a:gd name="connsiteY20" fmla="*/ 25465 h 60578"/>
                <a:gd name="connsiteX21" fmla="*/ 10875 w 34499"/>
                <a:gd name="connsiteY21" fmla="*/ 30118 h 60578"/>
                <a:gd name="connsiteX22" fmla="*/ 10875 w 34499"/>
                <a:gd name="connsiteY22" fmla="*/ 33844 h 60578"/>
                <a:gd name="connsiteX23" fmla="*/ 21667 w 34499"/>
                <a:gd name="connsiteY23" fmla="*/ 11082 h 60578"/>
                <a:gd name="connsiteX24" fmla="*/ 18946 w 34499"/>
                <a:gd name="connsiteY24" fmla="*/ 12523 h 60578"/>
                <a:gd name="connsiteX25" fmla="*/ 13425 w 34499"/>
                <a:gd name="connsiteY25" fmla="*/ 12523 h 60578"/>
                <a:gd name="connsiteX26" fmla="*/ 12322 w 34499"/>
                <a:gd name="connsiteY26" fmla="*/ 10409 h 60578"/>
                <a:gd name="connsiteX27" fmla="*/ 16402 w 34499"/>
                <a:gd name="connsiteY27" fmla="*/ 2114 h 60578"/>
                <a:gd name="connsiteX28" fmla="*/ 19373 w 34499"/>
                <a:gd name="connsiteY28" fmla="*/ 0 h 60578"/>
                <a:gd name="connsiteX29" fmla="*/ 26767 w 34499"/>
                <a:gd name="connsiteY29" fmla="*/ 0 h 60578"/>
                <a:gd name="connsiteX30" fmla="*/ 27787 w 34499"/>
                <a:gd name="connsiteY30" fmla="*/ 2114 h 60578"/>
                <a:gd name="connsiteX31" fmla="*/ 21667 w 34499"/>
                <a:gd name="connsiteY31" fmla="*/ 11082 h 6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4499" h="60578">
                  <a:moveTo>
                    <a:pt x="34499" y="39341"/>
                  </a:moveTo>
                  <a:cubicBezTo>
                    <a:pt x="34499" y="40693"/>
                    <a:pt x="33990" y="41289"/>
                    <a:pt x="32632" y="41289"/>
                  </a:cubicBezTo>
                  <a:lnTo>
                    <a:pt x="10875" y="41289"/>
                  </a:lnTo>
                  <a:lnTo>
                    <a:pt x="10875" y="47548"/>
                  </a:lnTo>
                  <a:cubicBezTo>
                    <a:pt x="10875" y="50506"/>
                    <a:pt x="12488" y="52200"/>
                    <a:pt x="17505" y="52200"/>
                  </a:cubicBezTo>
                  <a:cubicBezTo>
                    <a:pt x="22521" y="52200"/>
                    <a:pt x="24134" y="50506"/>
                    <a:pt x="24134" y="47548"/>
                  </a:cubicBezTo>
                  <a:lnTo>
                    <a:pt x="24134" y="47129"/>
                  </a:lnTo>
                  <a:cubicBezTo>
                    <a:pt x="24134" y="45688"/>
                    <a:pt x="24727" y="45015"/>
                    <a:pt x="26263" y="45015"/>
                  </a:cubicBezTo>
                  <a:lnTo>
                    <a:pt x="32211" y="45015"/>
                  </a:lnTo>
                  <a:cubicBezTo>
                    <a:pt x="33657" y="45015"/>
                    <a:pt x="34333" y="45694"/>
                    <a:pt x="34333" y="47129"/>
                  </a:cubicBezTo>
                  <a:lnTo>
                    <a:pt x="34333" y="48061"/>
                  </a:lnTo>
                  <a:cubicBezTo>
                    <a:pt x="34333" y="55678"/>
                    <a:pt x="29916" y="60579"/>
                    <a:pt x="17422" y="60579"/>
                  </a:cubicBezTo>
                  <a:cubicBezTo>
                    <a:pt x="4928" y="60579"/>
                    <a:pt x="0" y="55672"/>
                    <a:pt x="0" y="48061"/>
                  </a:cubicBezTo>
                  <a:lnTo>
                    <a:pt x="0" y="29534"/>
                  </a:lnTo>
                  <a:cubicBezTo>
                    <a:pt x="0" y="22006"/>
                    <a:pt x="5017" y="17099"/>
                    <a:pt x="17505" y="17099"/>
                  </a:cubicBezTo>
                  <a:cubicBezTo>
                    <a:pt x="29993" y="17099"/>
                    <a:pt x="34499" y="22006"/>
                    <a:pt x="34499" y="29534"/>
                  </a:cubicBezTo>
                  <a:lnTo>
                    <a:pt x="34499" y="39347"/>
                  </a:lnTo>
                  <a:close/>
                  <a:moveTo>
                    <a:pt x="10881" y="33844"/>
                  </a:moveTo>
                  <a:lnTo>
                    <a:pt x="24134" y="33844"/>
                  </a:lnTo>
                  <a:lnTo>
                    <a:pt x="24134" y="30118"/>
                  </a:lnTo>
                  <a:cubicBezTo>
                    <a:pt x="24134" y="27154"/>
                    <a:pt x="22266" y="25465"/>
                    <a:pt x="17505" y="25465"/>
                  </a:cubicBezTo>
                  <a:cubicBezTo>
                    <a:pt x="12743" y="25465"/>
                    <a:pt x="10875" y="27160"/>
                    <a:pt x="10875" y="30118"/>
                  </a:cubicBezTo>
                  <a:lnTo>
                    <a:pt x="10875" y="33844"/>
                  </a:lnTo>
                  <a:close/>
                  <a:moveTo>
                    <a:pt x="21667" y="11082"/>
                  </a:moveTo>
                  <a:cubicBezTo>
                    <a:pt x="21240" y="11679"/>
                    <a:pt x="20393" y="12523"/>
                    <a:pt x="18946" y="12523"/>
                  </a:cubicBezTo>
                  <a:lnTo>
                    <a:pt x="13425" y="12523"/>
                  </a:lnTo>
                  <a:cubicBezTo>
                    <a:pt x="12150" y="12523"/>
                    <a:pt x="11640" y="11933"/>
                    <a:pt x="12322" y="10409"/>
                  </a:cubicBezTo>
                  <a:lnTo>
                    <a:pt x="16402" y="2114"/>
                  </a:lnTo>
                  <a:cubicBezTo>
                    <a:pt x="17001" y="844"/>
                    <a:pt x="17843" y="0"/>
                    <a:pt x="19373" y="0"/>
                  </a:cubicBezTo>
                  <a:lnTo>
                    <a:pt x="26767" y="0"/>
                  </a:lnTo>
                  <a:cubicBezTo>
                    <a:pt x="28214" y="0"/>
                    <a:pt x="28635" y="933"/>
                    <a:pt x="27787" y="2114"/>
                  </a:cubicBezTo>
                  <a:lnTo>
                    <a:pt x="21667" y="11082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648843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bg>
      <p:bgPr>
        <a:solidFill>
          <a:srgbClr val="000D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964BD8E-DBE8-1079-3BEB-C9F943025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084F5-31AE-5C4D-A3B9-9640CF2C6915}" type="datetime1">
              <a:rPr lang="en-CA" smtClean="0"/>
              <a:t>2025-10-21</a:t>
            </a:fld>
            <a:endParaRPr lang="en-US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FF50BC5-90F2-3BA6-C858-F3EA0A49DE0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" y="333376"/>
            <a:ext cx="132079" cy="647700"/>
          </a:xfrm>
          <a:gradFill flip="none" rotWithShape="1">
            <a:gsLst>
              <a:gs pos="0">
                <a:schemeClr val="accent2"/>
              </a:gs>
              <a:gs pos="32000">
                <a:schemeClr val="accent3"/>
              </a:gs>
              <a:gs pos="77000">
                <a:schemeClr val="accent4"/>
              </a:gs>
              <a:gs pos="99000">
                <a:schemeClr val="accent5"/>
              </a:gs>
            </a:gsLst>
            <a:lin ang="5400000" scaled="1"/>
            <a:tileRect/>
          </a:grad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784288-D5BB-B219-BF0D-E081721E8C84}"/>
              </a:ext>
            </a:extLst>
          </p:cNvPr>
          <p:cNvSpPr/>
          <p:nvPr userDrawn="1"/>
        </p:nvSpPr>
        <p:spPr>
          <a:xfrm>
            <a:off x="341763" y="1776798"/>
            <a:ext cx="2692017" cy="4208078"/>
          </a:xfrm>
          <a:prstGeom prst="rect">
            <a:avLst/>
          </a:prstGeom>
          <a:solidFill>
            <a:schemeClr val="tx1">
              <a:alpha val="19635"/>
            </a:schemeClr>
          </a:solidFill>
          <a:ln w="12700">
            <a:solidFill>
              <a:schemeClr val="accent1"/>
            </a:solidFill>
          </a:ln>
        </p:spPr>
        <p:txBody>
          <a:bodyPr vert="horz" lIns="0" tIns="45720" rIns="0" bIns="45720" rtlCol="0">
            <a:no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FB1745-42AA-14B6-271D-B49963A789F4}"/>
              </a:ext>
            </a:extLst>
          </p:cNvPr>
          <p:cNvSpPr/>
          <p:nvPr userDrawn="1"/>
        </p:nvSpPr>
        <p:spPr>
          <a:xfrm>
            <a:off x="3281980" y="1776798"/>
            <a:ext cx="2692017" cy="4208078"/>
          </a:xfrm>
          <a:prstGeom prst="rect">
            <a:avLst/>
          </a:prstGeom>
          <a:solidFill>
            <a:schemeClr val="tx1">
              <a:alpha val="19635"/>
            </a:schemeClr>
          </a:solidFill>
          <a:ln w="12700">
            <a:solidFill>
              <a:schemeClr val="accent2"/>
            </a:solidFill>
          </a:ln>
        </p:spPr>
        <p:txBody>
          <a:bodyPr vert="horz" lIns="0" tIns="45720" rIns="0" bIns="45720" rtlCol="0">
            <a:no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8DDA1EC-308E-D299-6DF6-6EBFCFB7039B}"/>
              </a:ext>
            </a:extLst>
          </p:cNvPr>
          <p:cNvSpPr/>
          <p:nvPr userDrawn="1"/>
        </p:nvSpPr>
        <p:spPr>
          <a:xfrm>
            <a:off x="6222253" y="1776798"/>
            <a:ext cx="2692017" cy="4208078"/>
          </a:xfrm>
          <a:prstGeom prst="rect">
            <a:avLst/>
          </a:prstGeom>
          <a:solidFill>
            <a:schemeClr val="tx1">
              <a:alpha val="19635"/>
            </a:schemeClr>
          </a:solidFill>
          <a:ln w="12700">
            <a:solidFill>
              <a:schemeClr val="accent3"/>
            </a:solidFill>
          </a:ln>
        </p:spPr>
        <p:txBody>
          <a:bodyPr vert="horz" lIns="0" tIns="45720" rIns="0" bIns="45720" rtlCol="0">
            <a:no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AEDF7B-66EE-DB22-03D3-056D5083D8B7}"/>
              </a:ext>
            </a:extLst>
          </p:cNvPr>
          <p:cNvSpPr/>
          <p:nvPr userDrawn="1"/>
        </p:nvSpPr>
        <p:spPr>
          <a:xfrm>
            <a:off x="9162581" y="1776798"/>
            <a:ext cx="2692017" cy="4208078"/>
          </a:xfrm>
          <a:prstGeom prst="rect">
            <a:avLst/>
          </a:prstGeom>
          <a:solidFill>
            <a:schemeClr val="tx1">
              <a:alpha val="19635"/>
            </a:schemeClr>
          </a:solidFill>
          <a:ln w="12700">
            <a:solidFill>
              <a:schemeClr val="accent4"/>
            </a:solidFill>
          </a:ln>
        </p:spPr>
        <p:txBody>
          <a:bodyPr vert="horz" lIns="0" tIns="45720" rIns="0" bIns="45720" rtlCol="0">
            <a:no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6D74EFC5-183B-CD25-0A55-F6BAD353125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509" y="2539875"/>
            <a:ext cx="2460524" cy="3357816"/>
          </a:xfrm>
          <a:prstGeom prst="rect">
            <a:avLst/>
          </a:prstGeom>
          <a:noFill/>
          <a:ln w="12700">
            <a:noFill/>
          </a:ln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6B942109-ED01-45C4-46FE-C4B480A553C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397726" y="2539875"/>
            <a:ext cx="2460524" cy="3357816"/>
          </a:xfrm>
          <a:prstGeom prst="rect">
            <a:avLst/>
          </a:prstGeom>
          <a:noFill/>
          <a:ln w="12700">
            <a:noFill/>
          </a:ln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D8D83DA4-7B8C-F688-A703-9FBD793840E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337999" y="2539875"/>
            <a:ext cx="2460524" cy="3357816"/>
          </a:xfrm>
          <a:prstGeom prst="rect">
            <a:avLst/>
          </a:prstGeom>
          <a:noFill/>
          <a:ln w="12700">
            <a:noFill/>
          </a:ln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8">
            <a:extLst>
              <a:ext uri="{FF2B5EF4-FFF2-40B4-BE49-F238E27FC236}">
                <a16:creationId xmlns:a16="http://schemas.microsoft.com/office/drawing/2014/main" id="{E172AE1A-F9DC-B812-0D50-4D086E64031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278327" y="2539875"/>
            <a:ext cx="2460524" cy="3357816"/>
          </a:xfrm>
          <a:prstGeom prst="rect">
            <a:avLst/>
          </a:prstGeom>
          <a:noFill/>
          <a:ln w="12700">
            <a:noFill/>
          </a:ln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59">
            <a:extLst>
              <a:ext uri="{FF2B5EF4-FFF2-40B4-BE49-F238E27FC236}">
                <a16:creationId xmlns:a16="http://schemas.microsoft.com/office/drawing/2014/main" id="{3634C754-227F-F510-F74A-DC56AFD1A8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818" y="1776798"/>
            <a:ext cx="2691906" cy="646113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lIns="576000" tIns="0" bIns="0" anchor="ctr">
            <a:normAutofit/>
          </a:bodyPr>
          <a:lstStyle>
            <a:lvl1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1pPr>
            <a:lvl2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2pPr>
            <a:lvl3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3pPr>
            <a:lvl4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4pPr>
            <a:lvl5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5pPr>
            <a:lvl6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6pPr>
            <a:lvl7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7pPr>
            <a:lvl8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8pPr>
            <a:lvl9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26" name="Picture Placeholder 64">
            <a:extLst>
              <a:ext uri="{FF2B5EF4-FFF2-40B4-BE49-F238E27FC236}">
                <a16:creationId xmlns:a16="http://schemas.microsoft.com/office/drawing/2014/main" id="{6BE192E0-E3BD-9F94-B23A-B30EC8C971C5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518132" y="1955854"/>
            <a:ext cx="288000" cy="28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x</a:t>
            </a:r>
          </a:p>
        </p:txBody>
      </p:sp>
      <p:sp>
        <p:nvSpPr>
          <p:cNvPr id="27" name="Text Placeholder 59">
            <a:extLst>
              <a:ext uri="{FF2B5EF4-FFF2-40B4-BE49-F238E27FC236}">
                <a16:creationId xmlns:a16="http://schemas.microsoft.com/office/drawing/2014/main" id="{BC42B8E2-2624-BA8E-1F2D-AF511A5A3F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82091" y="1776798"/>
            <a:ext cx="2691906" cy="646113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 lIns="576000" tIns="0" bIns="0" anchor="ctr">
            <a:normAutofit/>
          </a:bodyPr>
          <a:lstStyle>
            <a:lvl1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1pPr>
            <a:lvl2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2pPr>
            <a:lvl3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3pPr>
            <a:lvl4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4pPr>
            <a:lvl5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5pPr>
            <a:lvl6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6pPr>
            <a:lvl7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7pPr>
            <a:lvl8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8pPr>
            <a:lvl9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28" name="Picture Placeholder 64">
            <a:extLst>
              <a:ext uri="{FF2B5EF4-FFF2-40B4-BE49-F238E27FC236}">
                <a16:creationId xmlns:a16="http://schemas.microsoft.com/office/drawing/2014/main" id="{63D7D318-C938-E33C-D41F-169B4417218C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3458386" y="1955854"/>
            <a:ext cx="288000" cy="28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x</a:t>
            </a:r>
          </a:p>
        </p:txBody>
      </p:sp>
      <p:sp>
        <p:nvSpPr>
          <p:cNvPr id="29" name="Text Placeholder 59">
            <a:extLst>
              <a:ext uri="{FF2B5EF4-FFF2-40B4-BE49-F238E27FC236}">
                <a16:creationId xmlns:a16="http://schemas.microsoft.com/office/drawing/2014/main" id="{F739C454-2994-ED66-E9EA-2C4DC482D82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22364" y="1776798"/>
            <a:ext cx="2691906" cy="646113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txBody>
          <a:bodyPr lIns="576000" tIns="0" bIns="0" anchor="ctr">
            <a:normAutofit/>
          </a:bodyPr>
          <a:lstStyle>
            <a:lvl1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1pPr>
            <a:lvl2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2pPr>
            <a:lvl3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3pPr>
            <a:lvl4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4pPr>
            <a:lvl5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5pPr>
            <a:lvl6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6pPr>
            <a:lvl7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7pPr>
            <a:lvl8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8pPr>
            <a:lvl9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30" name="Picture Placeholder 64">
            <a:extLst>
              <a:ext uri="{FF2B5EF4-FFF2-40B4-BE49-F238E27FC236}">
                <a16:creationId xmlns:a16="http://schemas.microsoft.com/office/drawing/2014/main" id="{12053C59-A29D-F414-A0A9-647F13F76011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398640" y="1955854"/>
            <a:ext cx="288000" cy="28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x</a:t>
            </a:r>
          </a:p>
        </p:txBody>
      </p:sp>
      <p:sp>
        <p:nvSpPr>
          <p:cNvPr id="31" name="Text Placeholder 59">
            <a:extLst>
              <a:ext uri="{FF2B5EF4-FFF2-40B4-BE49-F238E27FC236}">
                <a16:creationId xmlns:a16="http://schemas.microsoft.com/office/drawing/2014/main" id="{F31F72CC-55FC-118B-02DD-C4EE6FA030F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62636" y="1776798"/>
            <a:ext cx="2691906" cy="64611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 lIns="576000" tIns="0" bIns="0" anchor="ctr">
            <a:normAutofit/>
          </a:bodyPr>
          <a:lstStyle>
            <a:lvl1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1pPr>
            <a:lvl2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2pPr>
            <a:lvl3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3pPr>
            <a:lvl4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4pPr>
            <a:lvl5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5pPr>
            <a:lvl6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6pPr>
            <a:lvl7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7pPr>
            <a:lvl8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8pPr>
            <a:lvl9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32" name="Picture Placeholder 64">
            <a:extLst>
              <a:ext uri="{FF2B5EF4-FFF2-40B4-BE49-F238E27FC236}">
                <a16:creationId xmlns:a16="http://schemas.microsoft.com/office/drawing/2014/main" id="{53F862A9-8482-71F9-727B-84ABF4C6A425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9338894" y="1955854"/>
            <a:ext cx="288000" cy="28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x</a:t>
            </a: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FB0C7DA0-F0D3-4A3C-6CB7-5B2020B31D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813" y="574127"/>
            <a:ext cx="11501893" cy="440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9C2CAD1-D3D8-84BC-25A3-B6BE36FC01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813" y="333375"/>
            <a:ext cx="11501892" cy="237816"/>
          </a:xfrm>
        </p:spPr>
        <p:txBody>
          <a:bodyPr lIns="0" rIns="0" anchor="b"/>
          <a:lstStyle>
            <a:lvl1pPr marL="0" indent="0">
              <a:buNone/>
              <a:tabLst/>
              <a:defRPr sz="1100" b="1" cap="all" spc="100" baseline="0">
                <a:solidFill>
                  <a:schemeClr val="accent2"/>
                </a:solidFill>
              </a:defRPr>
            </a:lvl1pPr>
            <a:lvl2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3pPr>
            <a:lvl4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4pPr>
            <a:lvl5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5pPr>
            <a:lvl6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6pPr>
            <a:lvl7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7pPr>
            <a:lvl8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8pPr>
            <a:lvl9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81951FC4-8525-4136-6F23-2B81A54601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813" y="1014174"/>
            <a:ext cx="11501892" cy="506652"/>
          </a:xfrm>
        </p:spPr>
        <p:txBody>
          <a:bodyPr lIns="0" rIns="0" anchor="t">
            <a:normAutofit/>
          </a:bodyPr>
          <a:lstStyle>
            <a:lvl1pPr marL="0" indent="0">
              <a:buNone/>
              <a:tabLst/>
              <a:defRPr sz="1400" b="0" cap="none" baseline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3pPr>
            <a:lvl4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4pPr>
            <a:lvl5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5pPr>
            <a:lvl6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6pPr>
            <a:lvl7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7pPr>
            <a:lvl8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8pPr>
            <a:lvl9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Slide description her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B8F5554-8AFB-5834-B20B-3A790F2397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8632" y="6541399"/>
            <a:ext cx="348404" cy="316601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BAFA70EE-EF21-5645-B7EF-DF5EA44B88C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7CBE8165-11A7-5CB1-EB77-5E744DEB68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6273800"/>
            <a:ext cx="11522073" cy="2508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570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rgbClr val="000D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4BB48D9-29F3-66B0-7D4B-120E6DF774E1}"/>
              </a:ext>
            </a:extLst>
          </p:cNvPr>
          <p:cNvGrpSpPr/>
          <p:nvPr userDrawn="1"/>
        </p:nvGrpSpPr>
        <p:grpSpPr>
          <a:xfrm>
            <a:off x="5179057" y="0"/>
            <a:ext cx="7012941" cy="6858002"/>
            <a:chOff x="5179057" y="0"/>
            <a:chExt cx="7012941" cy="6858002"/>
          </a:xfrm>
        </p:grpSpPr>
        <p:pic>
          <p:nvPicPr>
            <p:cNvPr id="7" name="Picture 6" descr="A close-up of a white surface&#10;&#10;Description automatically generated">
              <a:extLst>
                <a:ext uri="{FF2B5EF4-FFF2-40B4-BE49-F238E27FC236}">
                  <a16:creationId xmlns:a16="http://schemas.microsoft.com/office/drawing/2014/main" id="{1A387C26-CFAA-6B7D-2433-E26CD9C347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alphaModFix amt="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20"/>
            <a:stretch/>
          </p:blipFill>
          <p:spPr>
            <a:xfrm rot="10800000">
              <a:off x="5179057" y="0"/>
              <a:ext cx="7012941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0DC983B-6ACE-7920-49E6-EBEA94BCA341}"/>
                </a:ext>
              </a:extLst>
            </p:cNvPr>
            <p:cNvSpPr/>
            <p:nvPr/>
          </p:nvSpPr>
          <p:spPr>
            <a:xfrm rot="5400000">
              <a:off x="5035074" y="143987"/>
              <a:ext cx="6858000" cy="6570030"/>
            </a:xfrm>
            <a:prstGeom prst="rect">
              <a:avLst/>
            </a:prstGeom>
            <a:gradFill>
              <a:gsLst>
                <a:gs pos="0">
                  <a:srgbClr val="000D23"/>
                </a:gs>
                <a:gs pos="100000">
                  <a:srgbClr val="000D23">
                    <a:alpha val="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18A97D3-B7BB-E0F7-4F65-2ACF2357EBAF}"/>
              </a:ext>
            </a:extLst>
          </p:cNvPr>
          <p:cNvGrpSpPr/>
          <p:nvPr userDrawn="1"/>
        </p:nvGrpSpPr>
        <p:grpSpPr>
          <a:xfrm rot="10800000">
            <a:off x="-1" y="4279390"/>
            <a:ext cx="4690645" cy="2638488"/>
            <a:chOff x="4690533" y="0"/>
            <a:chExt cx="7501469" cy="4219577"/>
          </a:xfrm>
        </p:grpSpPr>
        <p:pic>
          <p:nvPicPr>
            <p:cNvPr id="22" name="Picture 21" descr="A close-up of a white surface&#10;&#10;Description automatically generated">
              <a:extLst>
                <a:ext uri="{FF2B5EF4-FFF2-40B4-BE49-F238E27FC236}">
                  <a16:creationId xmlns:a16="http://schemas.microsoft.com/office/drawing/2014/main" id="{A1545E6D-ED02-96E6-FBC2-5722712771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alphaModFix amt="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20"/>
            <a:stretch/>
          </p:blipFill>
          <p:spPr>
            <a:xfrm>
              <a:off x="4690533" y="0"/>
              <a:ext cx="7501467" cy="4219575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DAEA631-A9F2-C8FE-CD21-CD56BEDECE12}"/>
                </a:ext>
              </a:extLst>
            </p:cNvPr>
            <p:cNvSpPr/>
            <p:nvPr/>
          </p:nvSpPr>
          <p:spPr>
            <a:xfrm>
              <a:off x="4690536" y="95759"/>
              <a:ext cx="1794935" cy="4123818"/>
            </a:xfrm>
            <a:prstGeom prst="rect">
              <a:avLst/>
            </a:prstGeom>
            <a:gradFill>
              <a:gsLst>
                <a:gs pos="3000">
                  <a:srgbClr val="000D23"/>
                </a:gs>
                <a:gs pos="99000">
                  <a:srgbClr val="000D23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B836440-AFB6-638E-DA4C-335C962821D3}"/>
                </a:ext>
              </a:extLst>
            </p:cNvPr>
            <p:cNvSpPr/>
            <p:nvPr/>
          </p:nvSpPr>
          <p:spPr>
            <a:xfrm rot="16200000">
              <a:off x="8133906" y="161479"/>
              <a:ext cx="614724" cy="7501468"/>
            </a:xfrm>
            <a:prstGeom prst="rect">
              <a:avLst/>
            </a:prstGeom>
            <a:gradFill>
              <a:gsLst>
                <a:gs pos="3000">
                  <a:srgbClr val="000D23"/>
                </a:gs>
                <a:gs pos="99000">
                  <a:srgbClr val="000D23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5" name="Picture 14" descr="A blue and green lines on a black background&#10;&#10;Description automatically generated">
            <a:extLst>
              <a:ext uri="{FF2B5EF4-FFF2-40B4-BE49-F238E27FC236}">
                <a16:creationId xmlns:a16="http://schemas.microsoft.com/office/drawing/2014/main" id="{DE28EFD1-4E12-D4BD-B33E-0848E00139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233578"/>
            <a:ext cx="12191998" cy="4624422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8BCBC9A-8350-0032-955F-3E09726F5191}"/>
              </a:ext>
            </a:extLst>
          </p:cNvPr>
          <p:cNvSpPr/>
          <p:nvPr userDrawn="1"/>
        </p:nvSpPr>
        <p:spPr>
          <a:xfrm>
            <a:off x="355146" y="1228726"/>
            <a:ext cx="7996374" cy="4371974"/>
          </a:xfrm>
          <a:prstGeom prst="roundRect">
            <a:avLst>
              <a:gd name="adj" fmla="val 0"/>
            </a:avLst>
          </a:prstGeom>
          <a:solidFill>
            <a:schemeClr val="tx1">
              <a:alpha val="74000"/>
            </a:schemeClr>
          </a:solidFill>
          <a:ln w="50800" cap="rnd">
            <a:gradFill flip="none" rotWithShape="1">
              <a:gsLst>
                <a:gs pos="0">
                  <a:schemeClr val="accent2"/>
                </a:gs>
                <a:gs pos="100000">
                  <a:schemeClr val="accent5"/>
                </a:gs>
              </a:gsLst>
              <a:lin ang="0" scaled="1"/>
              <a:tileRect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45720" rIns="0" bIns="45720" rtlCol="0">
            <a:noAutofit/>
          </a:bodyPr>
          <a:lstStyle/>
          <a:p>
            <a:pPr lvl="0" indent="12700">
              <a:lnSpc>
                <a:spcPct val="90000"/>
              </a:lnSpc>
              <a:spcAft>
                <a:spcPts val="300"/>
              </a:spcAft>
              <a:buClr>
                <a:schemeClr val="accent2"/>
              </a:buClr>
            </a:pPr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4DDDF5-1D7C-537B-43D1-5046E304F1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E1FD5-BA30-8E40-9A24-94906094D7CC}" type="datetime1">
              <a:rPr lang="en-CA" smtClean="0"/>
              <a:t>2025-10-21</a:t>
            </a:fld>
            <a:endParaRPr lang="en-US"/>
          </a:p>
        </p:txBody>
      </p:sp>
      <p:sp>
        <p:nvSpPr>
          <p:cNvPr id="11" name="Title 11">
            <a:extLst>
              <a:ext uri="{FF2B5EF4-FFF2-40B4-BE49-F238E27FC236}">
                <a16:creationId xmlns:a16="http://schemas.microsoft.com/office/drawing/2014/main" id="{E62993FF-D25A-A45C-030B-8052F02BB248}"/>
              </a:ext>
            </a:extLst>
          </p:cNvPr>
          <p:cNvSpPr txBox="1">
            <a:spLocks/>
          </p:cNvSpPr>
          <p:nvPr userDrawn="1"/>
        </p:nvSpPr>
        <p:spPr>
          <a:xfrm>
            <a:off x="787233" y="2662202"/>
            <a:ext cx="9472694" cy="109766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l" hangingPunct="1"/>
            <a:r>
              <a:rPr lang="en-US" sz="8800" b="0" i="0" spc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hank You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854461D-0202-EB15-80EC-B1AFF7EB4F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3274" y="4190103"/>
            <a:ext cx="4462547" cy="343863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tabLst/>
              <a:defRPr sz="2000" b="1" cap="all" spc="100" baseline="0">
                <a:solidFill>
                  <a:schemeClr val="accent2"/>
                </a:solidFill>
              </a:defRPr>
            </a:lvl1pPr>
            <a:lvl2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3pPr>
            <a:lvl4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4pPr>
            <a:lvl5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5pPr>
            <a:lvl6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6pPr>
            <a:lvl7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7pPr>
            <a:lvl8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8pPr>
            <a:lvl9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E7963AD4-614F-8866-53B5-E6BC26B44F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3274" y="4568809"/>
            <a:ext cx="4462547" cy="343863"/>
          </a:xfrm>
        </p:spPr>
        <p:txBody>
          <a:bodyPr lIns="0" tIns="36000" rIns="0" bIns="0" anchor="t">
            <a:normAutofit/>
          </a:bodyPr>
          <a:lstStyle>
            <a:lvl1pPr marL="0" indent="0">
              <a:buNone/>
              <a:tabLst/>
              <a:defRPr sz="1600" b="0" cap="all" spc="100" baseline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3pPr>
            <a:lvl4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4pPr>
            <a:lvl5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5pPr>
            <a:lvl6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6pPr>
            <a:lvl7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7pPr>
            <a:lvl8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8pPr>
            <a:lvl9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ontact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5991BBE-7143-8460-151F-96FA248FFDA0}"/>
              </a:ext>
            </a:extLst>
          </p:cNvPr>
          <p:cNvGrpSpPr/>
          <p:nvPr userDrawn="1"/>
        </p:nvGrpSpPr>
        <p:grpSpPr>
          <a:xfrm>
            <a:off x="-210993" y="-269571"/>
            <a:ext cx="12607636" cy="7378396"/>
            <a:chOff x="-207818" y="-269571"/>
            <a:chExt cx="12607636" cy="7378396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9410CDB-64F8-CBF8-0257-E86BCDD7415A}"/>
                </a:ext>
              </a:extLst>
            </p:cNvPr>
            <p:cNvGrpSpPr/>
            <p:nvPr userDrawn="1"/>
          </p:nvGrpSpPr>
          <p:grpSpPr>
            <a:xfrm>
              <a:off x="12192000" y="333375"/>
              <a:ext cx="207818" cy="6193290"/>
              <a:chOff x="12192000" y="333375"/>
              <a:chExt cx="352926" cy="6193290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BA4716E3-6655-5D52-825A-88132CD7EB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3337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1655EE4F-6C92-FD68-5897-27082942DE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97103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CDFD0D94-B1A9-BB42-A55F-3CCE987BD34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5208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FB5A1781-3D4E-9BF7-7484-9B6AC32316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2738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ABA3C1F2-19B6-0A79-FF3A-DDD64B875F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52666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308C5EBB-05AD-568B-B373-4C4DC38EFE4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5842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0567E1DA-D7D9-6021-082E-4FC31F71A5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89899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0100C682-EDB4-3D2C-0789-2BED37DE8F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019103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D850CFF3-92FC-191E-95FD-4DD229B6285D}"/>
                </a:ext>
              </a:extLst>
            </p:cNvPr>
            <p:cNvGrpSpPr/>
            <p:nvPr userDrawn="1"/>
          </p:nvGrpSpPr>
          <p:grpSpPr>
            <a:xfrm>
              <a:off x="334963" y="6858000"/>
              <a:ext cx="11534775" cy="250825"/>
              <a:chOff x="334963" y="6858000"/>
              <a:chExt cx="11534775" cy="250825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80BCEBCA-5F30-E3CF-8F3B-4ED517F193D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334963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C4C2E82E-8D75-3130-742B-D85B502DC46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6097409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C0D8DF0B-AB8F-EA08-A42A-5D336A55F45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11869738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D7DC6FB9-2E24-5185-9313-63749327C5CB}"/>
                </a:ext>
              </a:extLst>
            </p:cNvPr>
            <p:cNvGrpSpPr/>
            <p:nvPr userDrawn="1"/>
          </p:nvGrpSpPr>
          <p:grpSpPr>
            <a:xfrm>
              <a:off x="-207818" y="332015"/>
              <a:ext cx="207818" cy="6194650"/>
              <a:chOff x="12192000" y="333375"/>
              <a:chExt cx="352926" cy="619465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CD796A5F-494C-696A-0449-F4FB2A0E17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3337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E80FF66F-A00F-F9F6-B02B-54B8B5E5179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97103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7B3148D-81F8-D6FB-35D5-FCA10765B5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5208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6A7C8A1B-E1F7-AB6E-2429-07960E31A6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27516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5E0ED71A-4DE7-8D8B-4DED-711F1E7B121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5280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6B6009AB-6A09-88E4-3A35-59C90947698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5842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DEBAD3D6-7BF1-2AD8-3E57-A44193CD0A7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89899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FAEF7F46-CAA8-0854-522C-5E4567DFB1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771678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11782855-EFBB-A802-705A-05D031F2E79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028088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D1EE0EB7-9278-B746-10FA-24260BA0BF56}"/>
                </a:ext>
              </a:extLst>
            </p:cNvPr>
            <p:cNvGrpSpPr/>
            <p:nvPr userDrawn="1"/>
          </p:nvGrpSpPr>
          <p:grpSpPr>
            <a:xfrm>
              <a:off x="334963" y="-269571"/>
              <a:ext cx="11534775" cy="250825"/>
              <a:chOff x="334963" y="-269571"/>
              <a:chExt cx="11534775" cy="250825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82FA501B-6D47-96FE-DC26-5933C8E76B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334963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C9A6A916-84E1-F624-950C-452DCEDDB5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6097409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1ECF92B9-E322-1FD8-6EF9-BDD21B235D2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11869738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0" name="Picture 9" descr="A close-up of a trophy&#10;&#10;Description automatically generated">
            <a:extLst>
              <a:ext uri="{FF2B5EF4-FFF2-40B4-BE49-F238E27FC236}">
                <a16:creationId xmlns:a16="http://schemas.microsoft.com/office/drawing/2014/main" id="{37879C56-B475-CBDE-2112-63704EAB6E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2946" y="234749"/>
            <a:ext cx="4791376" cy="6388502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0389F682-208A-3574-625B-B905A5A49B38}"/>
              </a:ext>
            </a:extLst>
          </p:cNvPr>
          <p:cNvGrpSpPr/>
          <p:nvPr userDrawn="1"/>
        </p:nvGrpSpPr>
        <p:grpSpPr>
          <a:xfrm>
            <a:off x="720022" y="1908754"/>
            <a:ext cx="2915355" cy="309552"/>
            <a:chOff x="10196953" y="6633275"/>
            <a:chExt cx="1253882" cy="133137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4E929579-7F8A-6ABE-D87D-147807CC9BBB}"/>
                </a:ext>
              </a:extLst>
            </p:cNvPr>
            <p:cNvSpPr/>
            <p:nvPr/>
          </p:nvSpPr>
          <p:spPr>
            <a:xfrm>
              <a:off x="10196953" y="6634810"/>
              <a:ext cx="83366" cy="131596"/>
            </a:xfrm>
            <a:custGeom>
              <a:avLst/>
              <a:gdLst>
                <a:gd name="connsiteX0" fmla="*/ 25540 w 83366"/>
                <a:gd name="connsiteY0" fmla="*/ 95828 h 131596"/>
                <a:gd name="connsiteX1" fmla="*/ 42060 w 83366"/>
                <a:gd name="connsiteY1" fmla="*/ 110175 h 131596"/>
                <a:gd name="connsiteX2" fmla="*/ 57436 w 83366"/>
                <a:gd name="connsiteY2" fmla="*/ 95828 h 131596"/>
                <a:gd name="connsiteX3" fmla="*/ 57436 w 83366"/>
                <a:gd name="connsiteY3" fmla="*/ 4971 h 131596"/>
                <a:gd name="connsiteX4" fmla="*/ 62043 w 83366"/>
                <a:gd name="connsiteY4" fmla="*/ 0 h 131596"/>
                <a:gd name="connsiteX5" fmla="*/ 78754 w 83366"/>
                <a:gd name="connsiteY5" fmla="*/ 0 h 131596"/>
                <a:gd name="connsiteX6" fmla="*/ 83367 w 83366"/>
                <a:gd name="connsiteY6" fmla="*/ 4971 h 131596"/>
                <a:gd name="connsiteX7" fmla="*/ 83367 w 83366"/>
                <a:gd name="connsiteY7" fmla="*/ 100415 h 131596"/>
                <a:gd name="connsiteX8" fmla="*/ 42054 w 83366"/>
                <a:gd name="connsiteY8" fmla="*/ 131596 h 131596"/>
                <a:gd name="connsiteX9" fmla="*/ 0 w 83366"/>
                <a:gd name="connsiteY9" fmla="*/ 100415 h 131596"/>
                <a:gd name="connsiteX10" fmla="*/ 0 w 83366"/>
                <a:gd name="connsiteY10" fmla="*/ 88937 h 131596"/>
                <a:gd name="connsiteX11" fmla="*/ 4791 w 83366"/>
                <a:gd name="connsiteY11" fmla="*/ 84155 h 131596"/>
                <a:gd name="connsiteX12" fmla="*/ 20938 w 83366"/>
                <a:gd name="connsiteY12" fmla="*/ 84155 h 131596"/>
                <a:gd name="connsiteX13" fmla="*/ 25540 w 83366"/>
                <a:gd name="connsiteY13" fmla="*/ 88937 h 131596"/>
                <a:gd name="connsiteX14" fmla="*/ 25540 w 83366"/>
                <a:gd name="connsiteY14" fmla="*/ 95828 h 13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3366" h="131596">
                  <a:moveTo>
                    <a:pt x="25540" y="95828"/>
                  </a:moveTo>
                  <a:cubicBezTo>
                    <a:pt x="25540" y="105387"/>
                    <a:pt x="30740" y="110175"/>
                    <a:pt x="42060" y="110175"/>
                  </a:cubicBezTo>
                  <a:cubicBezTo>
                    <a:pt x="53380" y="110175"/>
                    <a:pt x="57436" y="105387"/>
                    <a:pt x="57436" y="95828"/>
                  </a:cubicBezTo>
                  <a:lnTo>
                    <a:pt x="57436" y="4971"/>
                  </a:lnTo>
                  <a:cubicBezTo>
                    <a:pt x="57436" y="1523"/>
                    <a:pt x="58776" y="0"/>
                    <a:pt x="62043" y="0"/>
                  </a:cubicBezTo>
                  <a:lnTo>
                    <a:pt x="78754" y="0"/>
                  </a:lnTo>
                  <a:cubicBezTo>
                    <a:pt x="82211" y="0"/>
                    <a:pt x="83367" y="1523"/>
                    <a:pt x="83367" y="4971"/>
                  </a:cubicBezTo>
                  <a:lnTo>
                    <a:pt x="83367" y="100415"/>
                  </a:lnTo>
                  <a:cubicBezTo>
                    <a:pt x="83367" y="116487"/>
                    <a:pt x="74532" y="131596"/>
                    <a:pt x="42054" y="131596"/>
                  </a:cubicBezTo>
                  <a:cubicBezTo>
                    <a:pt x="9577" y="131596"/>
                    <a:pt x="0" y="116493"/>
                    <a:pt x="0" y="100415"/>
                  </a:cubicBezTo>
                  <a:lnTo>
                    <a:pt x="0" y="88937"/>
                  </a:lnTo>
                  <a:cubicBezTo>
                    <a:pt x="0" y="85489"/>
                    <a:pt x="1334" y="84155"/>
                    <a:pt x="4791" y="84155"/>
                  </a:cubicBezTo>
                  <a:lnTo>
                    <a:pt x="20938" y="84155"/>
                  </a:lnTo>
                  <a:cubicBezTo>
                    <a:pt x="24395" y="84155"/>
                    <a:pt x="25540" y="85489"/>
                    <a:pt x="25540" y="88937"/>
                  </a:cubicBezTo>
                  <a:lnTo>
                    <a:pt x="25540" y="95828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39FCABD-E6C3-FB9C-E402-86A46F96BDB3}"/>
                </a:ext>
              </a:extLst>
            </p:cNvPr>
            <p:cNvSpPr/>
            <p:nvPr/>
          </p:nvSpPr>
          <p:spPr>
            <a:xfrm>
              <a:off x="10290513" y="6739825"/>
              <a:ext cx="25741" cy="25058"/>
            </a:xfrm>
            <a:custGeom>
              <a:avLst/>
              <a:gdLst>
                <a:gd name="connsiteX0" fmla="*/ 25741 w 25741"/>
                <a:gd name="connsiteY0" fmla="*/ 20270 h 25058"/>
                <a:gd name="connsiteX1" fmla="*/ 21140 w 25741"/>
                <a:gd name="connsiteY1" fmla="*/ 25058 h 25058"/>
                <a:gd name="connsiteX2" fmla="*/ 4809 w 25741"/>
                <a:gd name="connsiteY2" fmla="*/ 25058 h 25058"/>
                <a:gd name="connsiteX3" fmla="*/ 0 w 25741"/>
                <a:gd name="connsiteY3" fmla="*/ 20270 h 25058"/>
                <a:gd name="connsiteX4" fmla="*/ 0 w 25741"/>
                <a:gd name="connsiteY4" fmla="*/ 4783 h 25058"/>
                <a:gd name="connsiteX5" fmla="*/ 4809 w 25741"/>
                <a:gd name="connsiteY5" fmla="*/ 0 h 25058"/>
                <a:gd name="connsiteX6" fmla="*/ 21140 w 25741"/>
                <a:gd name="connsiteY6" fmla="*/ 0 h 25058"/>
                <a:gd name="connsiteX7" fmla="*/ 25741 w 25741"/>
                <a:gd name="connsiteY7" fmla="*/ 4783 h 25058"/>
                <a:gd name="connsiteX8" fmla="*/ 25741 w 25741"/>
                <a:gd name="connsiteY8" fmla="*/ 20270 h 2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41" h="25058">
                  <a:moveTo>
                    <a:pt x="25741" y="20270"/>
                  </a:moveTo>
                  <a:cubicBezTo>
                    <a:pt x="25741" y="23712"/>
                    <a:pt x="24597" y="25058"/>
                    <a:pt x="21140" y="25058"/>
                  </a:cubicBezTo>
                  <a:lnTo>
                    <a:pt x="4809" y="25058"/>
                  </a:lnTo>
                  <a:cubicBezTo>
                    <a:pt x="1352" y="25058"/>
                    <a:pt x="0" y="23712"/>
                    <a:pt x="0" y="20270"/>
                  </a:cubicBezTo>
                  <a:lnTo>
                    <a:pt x="0" y="4783"/>
                  </a:lnTo>
                  <a:cubicBezTo>
                    <a:pt x="0" y="1346"/>
                    <a:pt x="1352" y="0"/>
                    <a:pt x="4809" y="0"/>
                  </a:cubicBezTo>
                  <a:lnTo>
                    <a:pt x="21140" y="0"/>
                  </a:lnTo>
                  <a:cubicBezTo>
                    <a:pt x="24597" y="0"/>
                    <a:pt x="25741" y="1346"/>
                    <a:pt x="25741" y="4783"/>
                  </a:cubicBezTo>
                  <a:lnTo>
                    <a:pt x="25741" y="20270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625C87C-6F98-30D3-4FE5-65884594A8BD}"/>
                </a:ext>
              </a:extLst>
            </p:cNvPr>
            <p:cNvSpPr/>
            <p:nvPr/>
          </p:nvSpPr>
          <p:spPr>
            <a:xfrm>
              <a:off x="10343721" y="6634810"/>
              <a:ext cx="93364" cy="130067"/>
            </a:xfrm>
            <a:custGeom>
              <a:avLst/>
              <a:gdLst>
                <a:gd name="connsiteX0" fmla="*/ 4044 w 93364"/>
                <a:gd name="connsiteY0" fmla="*/ 130067 h 130067"/>
                <a:gd name="connsiteX1" fmla="*/ 0 w 93364"/>
                <a:gd name="connsiteY1" fmla="*/ 125101 h 130067"/>
                <a:gd name="connsiteX2" fmla="*/ 0 w 93364"/>
                <a:gd name="connsiteY2" fmla="*/ 4971 h 130067"/>
                <a:gd name="connsiteX3" fmla="*/ 4619 w 93364"/>
                <a:gd name="connsiteY3" fmla="*/ 0 h 130067"/>
                <a:gd name="connsiteX4" fmla="*/ 46495 w 93364"/>
                <a:gd name="connsiteY4" fmla="*/ 0 h 130067"/>
                <a:gd name="connsiteX5" fmla="*/ 93365 w 93364"/>
                <a:gd name="connsiteY5" fmla="*/ 31175 h 130067"/>
                <a:gd name="connsiteX6" fmla="*/ 93365 w 93364"/>
                <a:gd name="connsiteY6" fmla="*/ 98892 h 130067"/>
                <a:gd name="connsiteX7" fmla="*/ 46495 w 93364"/>
                <a:gd name="connsiteY7" fmla="*/ 130067 h 130067"/>
                <a:gd name="connsiteX8" fmla="*/ 4044 w 93364"/>
                <a:gd name="connsiteY8" fmla="*/ 130067 h 130067"/>
                <a:gd name="connsiteX9" fmla="*/ 25943 w 93364"/>
                <a:gd name="connsiteY9" fmla="*/ 21415 h 130067"/>
                <a:gd name="connsiteX10" fmla="*/ 25943 w 93364"/>
                <a:gd name="connsiteY10" fmla="*/ 108646 h 130067"/>
                <a:gd name="connsiteX11" fmla="*/ 46495 w 93364"/>
                <a:gd name="connsiteY11" fmla="*/ 108646 h 130067"/>
                <a:gd name="connsiteX12" fmla="*/ 67439 w 93364"/>
                <a:gd name="connsiteY12" fmla="*/ 94293 h 130067"/>
                <a:gd name="connsiteX13" fmla="*/ 67439 w 93364"/>
                <a:gd name="connsiteY13" fmla="*/ 35769 h 130067"/>
                <a:gd name="connsiteX14" fmla="*/ 46495 w 93364"/>
                <a:gd name="connsiteY14" fmla="*/ 21415 h 130067"/>
                <a:gd name="connsiteX15" fmla="*/ 25943 w 93364"/>
                <a:gd name="connsiteY15" fmla="*/ 21415 h 13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3364" h="130067">
                  <a:moveTo>
                    <a:pt x="4044" y="130067"/>
                  </a:moveTo>
                  <a:cubicBezTo>
                    <a:pt x="967" y="130067"/>
                    <a:pt x="0" y="128355"/>
                    <a:pt x="0" y="125101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19" y="0"/>
                  </a:cubicBezTo>
                  <a:lnTo>
                    <a:pt x="46495" y="0"/>
                  </a:lnTo>
                  <a:cubicBezTo>
                    <a:pt x="81268" y="0"/>
                    <a:pt x="93365" y="15109"/>
                    <a:pt x="93365" y="31175"/>
                  </a:cubicBezTo>
                  <a:lnTo>
                    <a:pt x="93365" y="98892"/>
                  </a:lnTo>
                  <a:cubicBezTo>
                    <a:pt x="93365" y="114958"/>
                    <a:pt x="81262" y="130067"/>
                    <a:pt x="46495" y="130067"/>
                  </a:cubicBezTo>
                  <a:lnTo>
                    <a:pt x="4044" y="130067"/>
                  </a:lnTo>
                  <a:close/>
                  <a:moveTo>
                    <a:pt x="25943" y="21415"/>
                  </a:moveTo>
                  <a:lnTo>
                    <a:pt x="25943" y="108646"/>
                  </a:lnTo>
                  <a:lnTo>
                    <a:pt x="46495" y="108646"/>
                  </a:lnTo>
                  <a:cubicBezTo>
                    <a:pt x="59565" y="108646"/>
                    <a:pt x="67439" y="103858"/>
                    <a:pt x="67439" y="94293"/>
                  </a:cubicBezTo>
                  <a:lnTo>
                    <a:pt x="67439" y="35769"/>
                  </a:lnTo>
                  <a:cubicBezTo>
                    <a:pt x="67439" y="26204"/>
                    <a:pt x="59565" y="21415"/>
                    <a:pt x="46495" y="21415"/>
                  </a:cubicBezTo>
                  <a:lnTo>
                    <a:pt x="25943" y="21415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DC4BF0C8-1BAE-BA33-D408-FE1710EE76E8}"/>
                </a:ext>
              </a:extLst>
            </p:cNvPr>
            <p:cNvSpPr/>
            <p:nvPr/>
          </p:nvSpPr>
          <p:spPr>
            <a:xfrm>
              <a:off x="10446122" y="6739825"/>
              <a:ext cx="25747" cy="25058"/>
            </a:xfrm>
            <a:custGeom>
              <a:avLst/>
              <a:gdLst>
                <a:gd name="connsiteX0" fmla="*/ 25747 w 25747"/>
                <a:gd name="connsiteY0" fmla="*/ 20270 h 25058"/>
                <a:gd name="connsiteX1" fmla="*/ 21134 w 25747"/>
                <a:gd name="connsiteY1" fmla="*/ 25058 h 25058"/>
                <a:gd name="connsiteX2" fmla="*/ 4803 w 25747"/>
                <a:gd name="connsiteY2" fmla="*/ 25058 h 25058"/>
                <a:gd name="connsiteX3" fmla="*/ 0 w 25747"/>
                <a:gd name="connsiteY3" fmla="*/ 20270 h 25058"/>
                <a:gd name="connsiteX4" fmla="*/ 0 w 25747"/>
                <a:gd name="connsiteY4" fmla="*/ 4783 h 25058"/>
                <a:gd name="connsiteX5" fmla="*/ 4803 w 25747"/>
                <a:gd name="connsiteY5" fmla="*/ 0 h 25058"/>
                <a:gd name="connsiteX6" fmla="*/ 21134 w 25747"/>
                <a:gd name="connsiteY6" fmla="*/ 0 h 25058"/>
                <a:gd name="connsiteX7" fmla="*/ 25747 w 25747"/>
                <a:gd name="connsiteY7" fmla="*/ 4783 h 25058"/>
                <a:gd name="connsiteX8" fmla="*/ 25747 w 25747"/>
                <a:gd name="connsiteY8" fmla="*/ 20270 h 2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47" h="25058">
                  <a:moveTo>
                    <a:pt x="25747" y="20270"/>
                  </a:moveTo>
                  <a:cubicBezTo>
                    <a:pt x="25747" y="23712"/>
                    <a:pt x="24597" y="25058"/>
                    <a:pt x="21134" y="25058"/>
                  </a:cubicBezTo>
                  <a:lnTo>
                    <a:pt x="4803" y="25058"/>
                  </a:lnTo>
                  <a:cubicBezTo>
                    <a:pt x="1340" y="25058"/>
                    <a:pt x="0" y="23712"/>
                    <a:pt x="0" y="20270"/>
                  </a:cubicBezTo>
                  <a:lnTo>
                    <a:pt x="0" y="4783"/>
                  </a:lnTo>
                  <a:cubicBezTo>
                    <a:pt x="0" y="1346"/>
                    <a:pt x="1340" y="0"/>
                    <a:pt x="4803" y="0"/>
                  </a:cubicBezTo>
                  <a:lnTo>
                    <a:pt x="21134" y="0"/>
                  </a:lnTo>
                  <a:cubicBezTo>
                    <a:pt x="24597" y="0"/>
                    <a:pt x="25747" y="1346"/>
                    <a:pt x="25747" y="4783"/>
                  </a:cubicBezTo>
                  <a:lnTo>
                    <a:pt x="25747" y="20270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A97E7C9-45D4-B438-2F83-24AB475BED47}"/>
                </a:ext>
              </a:extLst>
            </p:cNvPr>
            <p:cNvSpPr/>
            <p:nvPr/>
          </p:nvSpPr>
          <p:spPr>
            <a:xfrm>
              <a:off x="10526696" y="6634810"/>
              <a:ext cx="91431" cy="130061"/>
            </a:xfrm>
            <a:custGeom>
              <a:avLst/>
              <a:gdLst>
                <a:gd name="connsiteX0" fmla="*/ 25931 w 91431"/>
                <a:gd name="connsiteY0" fmla="*/ 83966 h 130061"/>
                <a:gd name="connsiteX1" fmla="*/ 25931 w 91431"/>
                <a:gd name="connsiteY1" fmla="*/ 125096 h 130061"/>
                <a:gd name="connsiteX2" fmla="*/ 21323 w 91431"/>
                <a:gd name="connsiteY2" fmla="*/ 130061 h 130061"/>
                <a:gd name="connsiteX3" fmla="*/ 4607 w 91431"/>
                <a:gd name="connsiteY3" fmla="*/ 130061 h 130061"/>
                <a:gd name="connsiteX4" fmla="*/ 0 w 91431"/>
                <a:gd name="connsiteY4" fmla="*/ 125096 h 130061"/>
                <a:gd name="connsiteX5" fmla="*/ 0 w 91431"/>
                <a:gd name="connsiteY5" fmla="*/ 4971 h 130061"/>
                <a:gd name="connsiteX6" fmla="*/ 4607 w 91431"/>
                <a:gd name="connsiteY6" fmla="*/ 0 h 130061"/>
                <a:gd name="connsiteX7" fmla="*/ 44948 w 91431"/>
                <a:gd name="connsiteY7" fmla="*/ 0 h 130061"/>
                <a:gd name="connsiteX8" fmla="*/ 91431 w 91431"/>
                <a:gd name="connsiteY8" fmla="*/ 31175 h 130061"/>
                <a:gd name="connsiteX9" fmla="*/ 91431 w 91431"/>
                <a:gd name="connsiteY9" fmla="*/ 52803 h 130061"/>
                <a:gd name="connsiteX10" fmla="*/ 44948 w 91431"/>
                <a:gd name="connsiteY10" fmla="*/ 83972 h 130061"/>
                <a:gd name="connsiteX11" fmla="*/ 25931 w 91431"/>
                <a:gd name="connsiteY11" fmla="*/ 83972 h 130061"/>
                <a:gd name="connsiteX12" fmla="*/ 25931 w 91431"/>
                <a:gd name="connsiteY12" fmla="*/ 21415 h 130061"/>
                <a:gd name="connsiteX13" fmla="*/ 25931 w 91431"/>
                <a:gd name="connsiteY13" fmla="*/ 62545 h 130061"/>
                <a:gd name="connsiteX14" fmla="*/ 44948 w 91431"/>
                <a:gd name="connsiteY14" fmla="*/ 62545 h 130061"/>
                <a:gd name="connsiteX15" fmla="*/ 65696 w 91431"/>
                <a:gd name="connsiteY15" fmla="*/ 48386 h 130061"/>
                <a:gd name="connsiteX16" fmla="*/ 65696 w 91431"/>
                <a:gd name="connsiteY16" fmla="*/ 35763 h 130061"/>
                <a:gd name="connsiteX17" fmla="*/ 44948 w 91431"/>
                <a:gd name="connsiteY17" fmla="*/ 21409 h 130061"/>
                <a:gd name="connsiteX18" fmla="*/ 25931 w 91431"/>
                <a:gd name="connsiteY18" fmla="*/ 21409 h 13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431" h="130061">
                  <a:moveTo>
                    <a:pt x="25931" y="83966"/>
                  </a:moveTo>
                  <a:lnTo>
                    <a:pt x="25931" y="125096"/>
                  </a:lnTo>
                  <a:cubicBezTo>
                    <a:pt x="25931" y="128538"/>
                    <a:pt x="24775" y="130061"/>
                    <a:pt x="21323" y="130061"/>
                  </a:cubicBezTo>
                  <a:lnTo>
                    <a:pt x="4607" y="130061"/>
                  </a:lnTo>
                  <a:cubicBezTo>
                    <a:pt x="1150" y="130061"/>
                    <a:pt x="0" y="128538"/>
                    <a:pt x="0" y="125096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07" y="0"/>
                  </a:cubicBezTo>
                  <a:lnTo>
                    <a:pt x="44948" y="0"/>
                  </a:lnTo>
                  <a:cubicBezTo>
                    <a:pt x="79708" y="0"/>
                    <a:pt x="91431" y="15109"/>
                    <a:pt x="91431" y="31175"/>
                  </a:cubicBezTo>
                  <a:lnTo>
                    <a:pt x="91431" y="52803"/>
                  </a:lnTo>
                  <a:cubicBezTo>
                    <a:pt x="91431" y="68863"/>
                    <a:pt x="79714" y="83972"/>
                    <a:pt x="44948" y="83972"/>
                  </a:cubicBezTo>
                  <a:lnTo>
                    <a:pt x="25931" y="83972"/>
                  </a:lnTo>
                  <a:close/>
                  <a:moveTo>
                    <a:pt x="25931" y="21415"/>
                  </a:moveTo>
                  <a:lnTo>
                    <a:pt x="25931" y="62545"/>
                  </a:lnTo>
                  <a:lnTo>
                    <a:pt x="44948" y="62545"/>
                  </a:lnTo>
                  <a:cubicBezTo>
                    <a:pt x="57815" y="62545"/>
                    <a:pt x="65696" y="57756"/>
                    <a:pt x="65696" y="48386"/>
                  </a:cubicBezTo>
                  <a:lnTo>
                    <a:pt x="65696" y="35763"/>
                  </a:lnTo>
                  <a:cubicBezTo>
                    <a:pt x="65696" y="26198"/>
                    <a:pt x="57815" y="21409"/>
                    <a:pt x="44948" y="21409"/>
                  </a:cubicBezTo>
                  <a:lnTo>
                    <a:pt x="25931" y="2140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93F30A9E-EFA8-9120-9512-9F0B4B1EE119}"/>
                </a:ext>
              </a:extLst>
            </p:cNvPr>
            <p:cNvSpPr/>
            <p:nvPr/>
          </p:nvSpPr>
          <p:spPr>
            <a:xfrm>
              <a:off x="10637921" y="6633275"/>
              <a:ext cx="93382" cy="133137"/>
            </a:xfrm>
            <a:custGeom>
              <a:avLst/>
              <a:gdLst>
                <a:gd name="connsiteX0" fmla="*/ 0 w 93382"/>
                <a:gd name="connsiteY0" fmla="*/ 31175 h 133137"/>
                <a:gd name="connsiteX1" fmla="*/ 46685 w 93382"/>
                <a:gd name="connsiteY1" fmla="*/ 0 h 133137"/>
                <a:gd name="connsiteX2" fmla="*/ 93382 w 93382"/>
                <a:gd name="connsiteY2" fmla="*/ 31175 h 133137"/>
                <a:gd name="connsiteX3" fmla="*/ 93382 w 93382"/>
                <a:gd name="connsiteY3" fmla="*/ 101956 h 133137"/>
                <a:gd name="connsiteX4" fmla="*/ 46685 w 93382"/>
                <a:gd name="connsiteY4" fmla="*/ 133137 h 133137"/>
                <a:gd name="connsiteX5" fmla="*/ 0 w 93382"/>
                <a:gd name="connsiteY5" fmla="*/ 101956 h 133137"/>
                <a:gd name="connsiteX6" fmla="*/ 0 w 93382"/>
                <a:gd name="connsiteY6" fmla="*/ 31175 h 133137"/>
                <a:gd name="connsiteX7" fmla="*/ 67434 w 93382"/>
                <a:gd name="connsiteY7" fmla="*/ 35769 h 133137"/>
                <a:gd name="connsiteX8" fmla="*/ 46685 w 93382"/>
                <a:gd name="connsiteY8" fmla="*/ 21427 h 133137"/>
                <a:gd name="connsiteX9" fmla="*/ 26133 w 93382"/>
                <a:gd name="connsiteY9" fmla="*/ 35769 h 133137"/>
                <a:gd name="connsiteX10" fmla="*/ 26133 w 93382"/>
                <a:gd name="connsiteY10" fmla="*/ 97369 h 133137"/>
                <a:gd name="connsiteX11" fmla="*/ 46685 w 93382"/>
                <a:gd name="connsiteY11" fmla="*/ 111716 h 133137"/>
                <a:gd name="connsiteX12" fmla="*/ 67434 w 93382"/>
                <a:gd name="connsiteY12" fmla="*/ 97369 h 133137"/>
                <a:gd name="connsiteX13" fmla="*/ 67434 w 93382"/>
                <a:gd name="connsiteY13" fmla="*/ 35769 h 133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382" h="133137">
                  <a:moveTo>
                    <a:pt x="0" y="31175"/>
                  </a:moveTo>
                  <a:cubicBezTo>
                    <a:pt x="0" y="15115"/>
                    <a:pt x="11919" y="0"/>
                    <a:pt x="46685" y="0"/>
                  </a:cubicBezTo>
                  <a:cubicBezTo>
                    <a:pt x="81452" y="0"/>
                    <a:pt x="93382" y="15115"/>
                    <a:pt x="93382" y="31175"/>
                  </a:cubicBezTo>
                  <a:lnTo>
                    <a:pt x="93382" y="101956"/>
                  </a:lnTo>
                  <a:cubicBezTo>
                    <a:pt x="93382" y="118028"/>
                    <a:pt x="81463" y="133137"/>
                    <a:pt x="46685" y="133137"/>
                  </a:cubicBezTo>
                  <a:cubicBezTo>
                    <a:pt x="11907" y="133137"/>
                    <a:pt x="0" y="118034"/>
                    <a:pt x="0" y="101956"/>
                  </a:cubicBezTo>
                  <a:lnTo>
                    <a:pt x="0" y="31175"/>
                  </a:lnTo>
                  <a:close/>
                  <a:moveTo>
                    <a:pt x="67434" y="35769"/>
                  </a:moveTo>
                  <a:cubicBezTo>
                    <a:pt x="67434" y="26209"/>
                    <a:pt x="59559" y="21427"/>
                    <a:pt x="46685" y="21427"/>
                  </a:cubicBezTo>
                  <a:cubicBezTo>
                    <a:pt x="33812" y="21427"/>
                    <a:pt x="26133" y="26215"/>
                    <a:pt x="26133" y="35769"/>
                  </a:cubicBezTo>
                  <a:lnTo>
                    <a:pt x="26133" y="97369"/>
                  </a:lnTo>
                  <a:cubicBezTo>
                    <a:pt x="26133" y="106928"/>
                    <a:pt x="33818" y="111716"/>
                    <a:pt x="46685" y="111716"/>
                  </a:cubicBezTo>
                  <a:cubicBezTo>
                    <a:pt x="59553" y="111716"/>
                    <a:pt x="67434" y="106922"/>
                    <a:pt x="67434" y="97369"/>
                  </a:cubicBezTo>
                  <a:lnTo>
                    <a:pt x="67434" y="3576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C2BFE940-E96B-2A49-5E8E-839F6FD3A5CA}"/>
                </a:ext>
              </a:extLst>
            </p:cNvPr>
            <p:cNvSpPr/>
            <p:nvPr/>
          </p:nvSpPr>
          <p:spPr>
            <a:xfrm>
              <a:off x="10747193" y="6634804"/>
              <a:ext cx="156104" cy="130072"/>
            </a:xfrm>
            <a:custGeom>
              <a:avLst/>
              <a:gdLst>
                <a:gd name="connsiteX0" fmla="*/ 108974 w 156104"/>
                <a:gd name="connsiteY0" fmla="*/ 69813 h 130072"/>
                <a:gd name="connsiteX1" fmla="*/ 112046 w 156104"/>
                <a:gd name="connsiteY1" fmla="*/ 88754 h 130072"/>
                <a:gd name="connsiteX2" fmla="*/ 115509 w 156104"/>
                <a:gd name="connsiteY2" fmla="*/ 70008 h 130072"/>
                <a:gd name="connsiteX3" fmla="*/ 132029 w 156104"/>
                <a:gd name="connsiteY3" fmla="*/ 4783 h 130072"/>
                <a:gd name="connsiteX4" fmla="*/ 137592 w 156104"/>
                <a:gd name="connsiteY4" fmla="*/ 0 h 130072"/>
                <a:gd name="connsiteX5" fmla="*/ 152203 w 156104"/>
                <a:gd name="connsiteY5" fmla="*/ 0 h 130072"/>
                <a:gd name="connsiteX6" fmla="*/ 155855 w 156104"/>
                <a:gd name="connsiteY6" fmla="*/ 4783 h 130072"/>
                <a:gd name="connsiteX7" fmla="*/ 125311 w 156104"/>
                <a:gd name="connsiteY7" fmla="*/ 125285 h 130072"/>
                <a:gd name="connsiteX8" fmla="*/ 119357 w 156104"/>
                <a:gd name="connsiteY8" fmla="*/ 130073 h 130072"/>
                <a:gd name="connsiteX9" fmla="*/ 103033 w 156104"/>
                <a:gd name="connsiteY9" fmla="*/ 130073 h 130072"/>
                <a:gd name="connsiteX10" fmla="*/ 97654 w 156104"/>
                <a:gd name="connsiteY10" fmla="*/ 125285 h 130072"/>
                <a:gd name="connsiteX11" fmla="*/ 80743 w 156104"/>
                <a:gd name="connsiteY11" fmla="*/ 58719 h 130072"/>
                <a:gd name="connsiteX12" fmla="*/ 78051 w 156104"/>
                <a:gd name="connsiteY12" fmla="*/ 41313 h 130072"/>
                <a:gd name="connsiteX13" fmla="*/ 75370 w 156104"/>
                <a:gd name="connsiteY13" fmla="*/ 58719 h 130072"/>
                <a:gd name="connsiteX14" fmla="*/ 58464 w 156104"/>
                <a:gd name="connsiteY14" fmla="*/ 125285 h 130072"/>
                <a:gd name="connsiteX15" fmla="*/ 52493 w 156104"/>
                <a:gd name="connsiteY15" fmla="*/ 130073 h 130072"/>
                <a:gd name="connsiteX16" fmla="*/ 36163 w 156104"/>
                <a:gd name="connsiteY16" fmla="*/ 130073 h 130072"/>
                <a:gd name="connsiteX17" fmla="*/ 30790 w 156104"/>
                <a:gd name="connsiteY17" fmla="*/ 125285 h 130072"/>
                <a:gd name="connsiteX18" fmla="*/ 240 w 156104"/>
                <a:gd name="connsiteY18" fmla="*/ 4783 h 130072"/>
                <a:gd name="connsiteX19" fmla="*/ 3899 w 156104"/>
                <a:gd name="connsiteY19" fmla="*/ 0 h 130072"/>
                <a:gd name="connsiteX20" fmla="*/ 21000 w 156104"/>
                <a:gd name="connsiteY20" fmla="*/ 0 h 130072"/>
                <a:gd name="connsiteX21" fmla="*/ 26562 w 156104"/>
                <a:gd name="connsiteY21" fmla="*/ 4783 h 130072"/>
                <a:gd name="connsiteX22" fmla="*/ 42703 w 156104"/>
                <a:gd name="connsiteY22" fmla="*/ 70008 h 130072"/>
                <a:gd name="connsiteX23" fmla="*/ 45775 w 156104"/>
                <a:gd name="connsiteY23" fmla="*/ 86068 h 130072"/>
                <a:gd name="connsiteX24" fmla="*/ 49244 w 156104"/>
                <a:gd name="connsiteY24" fmla="*/ 70008 h 130072"/>
                <a:gd name="connsiteX25" fmla="*/ 65764 w 156104"/>
                <a:gd name="connsiteY25" fmla="*/ 4783 h 130072"/>
                <a:gd name="connsiteX26" fmla="*/ 71516 w 156104"/>
                <a:gd name="connsiteY26" fmla="*/ 0 h 130072"/>
                <a:gd name="connsiteX27" fmla="*/ 87076 w 156104"/>
                <a:gd name="connsiteY27" fmla="*/ 0 h 130072"/>
                <a:gd name="connsiteX28" fmla="*/ 92851 w 156104"/>
                <a:gd name="connsiteY28" fmla="*/ 4783 h 130072"/>
                <a:gd name="connsiteX29" fmla="*/ 108986 w 156104"/>
                <a:gd name="connsiteY29" fmla="*/ 69813 h 13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6104" h="130072">
                  <a:moveTo>
                    <a:pt x="108974" y="69813"/>
                  </a:moveTo>
                  <a:cubicBezTo>
                    <a:pt x="110516" y="76314"/>
                    <a:pt x="111868" y="87030"/>
                    <a:pt x="112046" y="88754"/>
                  </a:cubicBezTo>
                  <a:cubicBezTo>
                    <a:pt x="112236" y="87414"/>
                    <a:pt x="113398" y="78428"/>
                    <a:pt x="115509" y="70008"/>
                  </a:cubicBezTo>
                  <a:lnTo>
                    <a:pt x="132029" y="4783"/>
                  </a:lnTo>
                  <a:cubicBezTo>
                    <a:pt x="132788" y="1724"/>
                    <a:pt x="134324" y="0"/>
                    <a:pt x="137592" y="0"/>
                  </a:cubicBezTo>
                  <a:lnTo>
                    <a:pt x="152203" y="0"/>
                  </a:lnTo>
                  <a:cubicBezTo>
                    <a:pt x="155666" y="0"/>
                    <a:pt x="156626" y="1724"/>
                    <a:pt x="155855" y="4783"/>
                  </a:cubicBezTo>
                  <a:lnTo>
                    <a:pt x="125311" y="125285"/>
                  </a:lnTo>
                  <a:cubicBezTo>
                    <a:pt x="124540" y="128544"/>
                    <a:pt x="122625" y="130073"/>
                    <a:pt x="119357" y="130073"/>
                  </a:cubicBezTo>
                  <a:lnTo>
                    <a:pt x="103033" y="130073"/>
                  </a:lnTo>
                  <a:cubicBezTo>
                    <a:pt x="100139" y="130073"/>
                    <a:pt x="98408" y="128355"/>
                    <a:pt x="97654" y="125285"/>
                  </a:cubicBezTo>
                  <a:lnTo>
                    <a:pt x="80743" y="58719"/>
                  </a:lnTo>
                  <a:cubicBezTo>
                    <a:pt x="79580" y="54527"/>
                    <a:pt x="78234" y="43421"/>
                    <a:pt x="78051" y="41313"/>
                  </a:cubicBezTo>
                  <a:cubicBezTo>
                    <a:pt x="77861" y="43232"/>
                    <a:pt x="76319" y="54905"/>
                    <a:pt x="75370" y="58719"/>
                  </a:cubicBezTo>
                  <a:lnTo>
                    <a:pt x="58464" y="125285"/>
                  </a:lnTo>
                  <a:cubicBezTo>
                    <a:pt x="57682" y="128544"/>
                    <a:pt x="55956" y="130073"/>
                    <a:pt x="52493" y="130073"/>
                  </a:cubicBezTo>
                  <a:lnTo>
                    <a:pt x="36163" y="130073"/>
                  </a:lnTo>
                  <a:cubicBezTo>
                    <a:pt x="33287" y="130073"/>
                    <a:pt x="31561" y="128355"/>
                    <a:pt x="30790" y="125285"/>
                  </a:cubicBezTo>
                  <a:lnTo>
                    <a:pt x="240" y="4783"/>
                  </a:lnTo>
                  <a:cubicBezTo>
                    <a:pt x="-513" y="1724"/>
                    <a:pt x="453" y="0"/>
                    <a:pt x="3899" y="0"/>
                  </a:cubicBezTo>
                  <a:lnTo>
                    <a:pt x="21000" y="0"/>
                  </a:lnTo>
                  <a:cubicBezTo>
                    <a:pt x="24261" y="0"/>
                    <a:pt x="25797" y="1724"/>
                    <a:pt x="26562" y="4783"/>
                  </a:cubicBezTo>
                  <a:lnTo>
                    <a:pt x="42703" y="70008"/>
                  </a:lnTo>
                  <a:cubicBezTo>
                    <a:pt x="44435" y="77087"/>
                    <a:pt x="45775" y="86068"/>
                    <a:pt x="45775" y="86068"/>
                  </a:cubicBezTo>
                  <a:cubicBezTo>
                    <a:pt x="45775" y="86068"/>
                    <a:pt x="46753" y="79756"/>
                    <a:pt x="49244" y="70008"/>
                  </a:cubicBezTo>
                  <a:lnTo>
                    <a:pt x="65764" y="4783"/>
                  </a:lnTo>
                  <a:cubicBezTo>
                    <a:pt x="66529" y="1724"/>
                    <a:pt x="68071" y="0"/>
                    <a:pt x="71516" y="0"/>
                  </a:cubicBezTo>
                  <a:lnTo>
                    <a:pt x="87076" y="0"/>
                  </a:lnTo>
                  <a:cubicBezTo>
                    <a:pt x="90539" y="0"/>
                    <a:pt x="92086" y="1724"/>
                    <a:pt x="92851" y="4783"/>
                  </a:cubicBezTo>
                  <a:lnTo>
                    <a:pt x="108986" y="69813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6288181-74C0-DEFB-C020-0FB935C37F96}"/>
                </a:ext>
              </a:extLst>
            </p:cNvPr>
            <p:cNvSpPr/>
            <p:nvPr/>
          </p:nvSpPr>
          <p:spPr>
            <a:xfrm>
              <a:off x="10921104" y="6634804"/>
              <a:ext cx="77045" cy="130078"/>
            </a:xfrm>
            <a:custGeom>
              <a:avLst/>
              <a:gdLst>
                <a:gd name="connsiteX0" fmla="*/ 4607 w 77045"/>
                <a:gd name="connsiteY0" fmla="*/ 130073 h 130078"/>
                <a:gd name="connsiteX1" fmla="*/ 0 w 77045"/>
                <a:gd name="connsiteY1" fmla="*/ 125107 h 130078"/>
                <a:gd name="connsiteX2" fmla="*/ 0 w 77045"/>
                <a:gd name="connsiteY2" fmla="*/ 4977 h 130078"/>
                <a:gd name="connsiteX3" fmla="*/ 4607 w 77045"/>
                <a:gd name="connsiteY3" fmla="*/ 0 h 130078"/>
                <a:gd name="connsiteX4" fmla="*/ 70310 w 77045"/>
                <a:gd name="connsiteY4" fmla="*/ 0 h 130078"/>
                <a:gd name="connsiteX5" fmla="*/ 75113 w 77045"/>
                <a:gd name="connsiteY5" fmla="*/ 4594 h 130078"/>
                <a:gd name="connsiteX6" fmla="*/ 75113 w 77045"/>
                <a:gd name="connsiteY6" fmla="*/ 16644 h 130078"/>
                <a:gd name="connsiteX7" fmla="*/ 70310 w 77045"/>
                <a:gd name="connsiteY7" fmla="*/ 21427 h 130078"/>
                <a:gd name="connsiteX8" fmla="*/ 25931 w 77045"/>
                <a:gd name="connsiteY8" fmla="*/ 21427 h 130078"/>
                <a:gd name="connsiteX9" fmla="*/ 25931 w 77045"/>
                <a:gd name="connsiteY9" fmla="*/ 52407 h 130078"/>
                <a:gd name="connsiteX10" fmla="*/ 67048 w 77045"/>
                <a:gd name="connsiteY10" fmla="*/ 52407 h 130078"/>
                <a:gd name="connsiteX11" fmla="*/ 72035 w 77045"/>
                <a:gd name="connsiteY11" fmla="*/ 56995 h 130078"/>
                <a:gd name="connsiteX12" fmla="*/ 72035 w 77045"/>
                <a:gd name="connsiteY12" fmla="*/ 68479 h 130078"/>
                <a:gd name="connsiteX13" fmla="*/ 67048 w 77045"/>
                <a:gd name="connsiteY13" fmla="*/ 73066 h 130078"/>
                <a:gd name="connsiteX14" fmla="*/ 25931 w 77045"/>
                <a:gd name="connsiteY14" fmla="*/ 73066 h 130078"/>
                <a:gd name="connsiteX15" fmla="*/ 25931 w 77045"/>
                <a:gd name="connsiteY15" fmla="*/ 108652 h 130078"/>
                <a:gd name="connsiteX16" fmla="*/ 72237 w 77045"/>
                <a:gd name="connsiteY16" fmla="*/ 108652 h 130078"/>
                <a:gd name="connsiteX17" fmla="*/ 77046 w 77045"/>
                <a:gd name="connsiteY17" fmla="*/ 113251 h 130078"/>
                <a:gd name="connsiteX18" fmla="*/ 77046 w 77045"/>
                <a:gd name="connsiteY18" fmla="*/ 125290 h 130078"/>
                <a:gd name="connsiteX19" fmla="*/ 72237 w 77045"/>
                <a:gd name="connsiteY19" fmla="*/ 130079 h 130078"/>
                <a:gd name="connsiteX20" fmla="*/ 4607 w 77045"/>
                <a:gd name="connsiteY20" fmla="*/ 130079 h 130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045" h="130078">
                  <a:moveTo>
                    <a:pt x="4607" y="130073"/>
                  </a:moveTo>
                  <a:cubicBezTo>
                    <a:pt x="1156" y="130073"/>
                    <a:pt x="0" y="128550"/>
                    <a:pt x="0" y="125107"/>
                  </a:cubicBezTo>
                  <a:lnTo>
                    <a:pt x="0" y="4977"/>
                  </a:lnTo>
                  <a:cubicBezTo>
                    <a:pt x="0" y="1523"/>
                    <a:pt x="1156" y="0"/>
                    <a:pt x="4607" y="0"/>
                  </a:cubicBezTo>
                  <a:lnTo>
                    <a:pt x="70310" y="0"/>
                  </a:lnTo>
                  <a:cubicBezTo>
                    <a:pt x="73595" y="0"/>
                    <a:pt x="75113" y="1151"/>
                    <a:pt x="75113" y="4594"/>
                  </a:cubicBezTo>
                  <a:lnTo>
                    <a:pt x="75113" y="16644"/>
                  </a:lnTo>
                  <a:cubicBezTo>
                    <a:pt x="75113" y="20087"/>
                    <a:pt x="73595" y="21427"/>
                    <a:pt x="70310" y="21427"/>
                  </a:cubicBezTo>
                  <a:lnTo>
                    <a:pt x="25931" y="21427"/>
                  </a:lnTo>
                  <a:lnTo>
                    <a:pt x="25931" y="52407"/>
                  </a:lnTo>
                  <a:lnTo>
                    <a:pt x="67048" y="52407"/>
                  </a:lnTo>
                  <a:cubicBezTo>
                    <a:pt x="70505" y="52407"/>
                    <a:pt x="72035" y="53558"/>
                    <a:pt x="72035" y="56995"/>
                  </a:cubicBezTo>
                  <a:lnTo>
                    <a:pt x="72035" y="68479"/>
                  </a:lnTo>
                  <a:cubicBezTo>
                    <a:pt x="72035" y="71726"/>
                    <a:pt x="70505" y="73066"/>
                    <a:pt x="67048" y="73066"/>
                  </a:cubicBezTo>
                  <a:lnTo>
                    <a:pt x="25931" y="73066"/>
                  </a:lnTo>
                  <a:lnTo>
                    <a:pt x="25931" y="108652"/>
                  </a:lnTo>
                  <a:lnTo>
                    <a:pt x="72237" y="108652"/>
                  </a:lnTo>
                  <a:cubicBezTo>
                    <a:pt x="75688" y="108652"/>
                    <a:pt x="77046" y="109791"/>
                    <a:pt x="77046" y="113251"/>
                  </a:cubicBezTo>
                  <a:lnTo>
                    <a:pt x="77046" y="125290"/>
                  </a:lnTo>
                  <a:cubicBezTo>
                    <a:pt x="77046" y="128733"/>
                    <a:pt x="75688" y="130079"/>
                    <a:pt x="72237" y="130079"/>
                  </a:cubicBezTo>
                  <a:lnTo>
                    <a:pt x="4607" y="13007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6CB921B5-9E79-FB7F-36F2-065E044351F7}"/>
                </a:ext>
              </a:extLst>
            </p:cNvPr>
            <p:cNvSpPr/>
            <p:nvPr/>
          </p:nvSpPr>
          <p:spPr>
            <a:xfrm>
              <a:off x="11019467" y="6634810"/>
              <a:ext cx="91450" cy="130067"/>
            </a:xfrm>
            <a:custGeom>
              <a:avLst/>
              <a:gdLst>
                <a:gd name="connsiteX0" fmla="*/ 25931 w 91450"/>
                <a:gd name="connsiteY0" fmla="*/ 80530 h 130067"/>
                <a:gd name="connsiteX1" fmla="*/ 25931 w 91450"/>
                <a:gd name="connsiteY1" fmla="*/ 125101 h 130067"/>
                <a:gd name="connsiteX2" fmla="*/ 21324 w 91450"/>
                <a:gd name="connsiteY2" fmla="*/ 130067 h 130067"/>
                <a:gd name="connsiteX3" fmla="*/ 4625 w 91450"/>
                <a:gd name="connsiteY3" fmla="*/ 130067 h 130067"/>
                <a:gd name="connsiteX4" fmla="*/ 0 w 91450"/>
                <a:gd name="connsiteY4" fmla="*/ 125101 h 130067"/>
                <a:gd name="connsiteX5" fmla="*/ 0 w 91450"/>
                <a:gd name="connsiteY5" fmla="*/ 4971 h 130067"/>
                <a:gd name="connsiteX6" fmla="*/ 4625 w 91450"/>
                <a:gd name="connsiteY6" fmla="*/ 0 h 130067"/>
                <a:gd name="connsiteX7" fmla="*/ 44954 w 91450"/>
                <a:gd name="connsiteY7" fmla="*/ 0 h 130067"/>
                <a:gd name="connsiteX8" fmla="*/ 91449 w 91450"/>
                <a:gd name="connsiteY8" fmla="*/ 31175 h 130067"/>
                <a:gd name="connsiteX9" fmla="*/ 91449 w 91450"/>
                <a:gd name="connsiteY9" fmla="*/ 49349 h 130067"/>
                <a:gd name="connsiteX10" fmla="*/ 70327 w 91450"/>
                <a:gd name="connsiteY10" fmla="*/ 76898 h 130067"/>
                <a:gd name="connsiteX11" fmla="*/ 91064 w 91450"/>
                <a:gd name="connsiteY11" fmla="*/ 125101 h 130067"/>
                <a:gd name="connsiteX12" fmla="*/ 86646 w 91450"/>
                <a:gd name="connsiteY12" fmla="*/ 130067 h 130067"/>
                <a:gd name="connsiteX13" fmla="*/ 69752 w 91450"/>
                <a:gd name="connsiteY13" fmla="*/ 130067 h 130067"/>
                <a:gd name="connsiteX14" fmla="*/ 64937 w 91450"/>
                <a:gd name="connsiteY14" fmla="*/ 125101 h 130067"/>
                <a:gd name="connsiteX15" fmla="*/ 46110 w 91450"/>
                <a:gd name="connsiteY15" fmla="*/ 80530 h 130067"/>
                <a:gd name="connsiteX16" fmla="*/ 25931 w 91450"/>
                <a:gd name="connsiteY16" fmla="*/ 80530 h 130067"/>
                <a:gd name="connsiteX17" fmla="*/ 25931 w 91450"/>
                <a:gd name="connsiteY17" fmla="*/ 21415 h 130067"/>
                <a:gd name="connsiteX18" fmla="*/ 25931 w 91450"/>
                <a:gd name="connsiteY18" fmla="*/ 59097 h 130067"/>
                <a:gd name="connsiteX19" fmla="*/ 44948 w 91450"/>
                <a:gd name="connsiteY19" fmla="*/ 59097 h 130067"/>
                <a:gd name="connsiteX20" fmla="*/ 65708 w 91450"/>
                <a:gd name="connsiteY20" fmla="*/ 44749 h 130067"/>
                <a:gd name="connsiteX21" fmla="*/ 65708 w 91450"/>
                <a:gd name="connsiteY21" fmla="*/ 35769 h 130067"/>
                <a:gd name="connsiteX22" fmla="*/ 44948 w 91450"/>
                <a:gd name="connsiteY22" fmla="*/ 21415 h 130067"/>
                <a:gd name="connsiteX23" fmla="*/ 25931 w 91450"/>
                <a:gd name="connsiteY23" fmla="*/ 21415 h 13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1450" h="130067">
                  <a:moveTo>
                    <a:pt x="25931" y="80530"/>
                  </a:moveTo>
                  <a:lnTo>
                    <a:pt x="25931" y="125101"/>
                  </a:lnTo>
                  <a:cubicBezTo>
                    <a:pt x="25931" y="128544"/>
                    <a:pt x="24781" y="130067"/>
                    <a:pt x="21324" y="130067"/>
                  </a:cubicBezTo>
                  <a:lnTo>
                    <a:pt x="4625" y="130067"/>
                  </a:lnTo>
                  <a:cubicBezTo>
                    <a:pt x="1156" y="130067"/>
                    <a:pt x="0" y="128544"/>
                    <a:pt x="0" y="125101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25" y="0"/>
                  </a:cubicBezTo>
                  <a:lnTo>
                    <a:pt x="44954" y="0"/>
                  </a:lnTo>
                  <a:cubicBezTo>
                    <a:pt x="79732" y="0"/>
                    <a:pt x="91449" y="15109"/>
                    <a:pt x="91449" y="31175"/>
                  </a:cubicBezTo>
                  <a:lnTo>
                    <a:pt x="91449" y="49349"/>
                  </a:lnTo>
                  <a:cubicBezTo>
                    <a:pt x="91449" y="60632"/>
                    <a:pt x="85679" y="71348"/>
                    <a:pt x="70327" y="76898"/>
                  </a:cubicBezTo>
                  <a:lnTo>
                    <a:pt x="91064" y="125101"/>
                  </a:lnTo>
                  <a:cubicBezTo>
                    <a:pt x="92404" y="128160"/>
                    <a:pt x="90103" y="130067"/>
                    <a:pt x="86646" y="130067"/>
                  </a:cubicBezTo>
                  <a:lnTo>
                    <a:pt x="69752" y="130067"/>
                  </a:lnTo>
                  <a:cubicBezTo>
                    <a:pt x="67054" y="130067"/>
                    <a:pt x="66289" y="128154"/>
                    <a:pt x="64937" y="125101"/>
                  </a:cubicBezTo>
                  <a:lnTo>
                    <a:pt x="46110" y="80530"/>
                  </a:lnTo>
                  <a:lnTo>
                    <a:pt x="25931" y="80530"/>
                  </a:lnTo>
                  <a:close/>
                  <a:moveTo>
                    <a:pt x="25931" y="21415"/>
                  </a:moveTo>
                  <a:lnTo>
                    <a:pt x="25931" y="59097"/>
                  </a:lnTo>
                  <a:lnTo>
                    <a:pt x="44948" y="59097"/>
                  </a:lnTo>
                  <a:cubicBezTo>
                    <a:pt x="57821" y="59097"/>
                    <a:pt x="65708" y="54320"/>
                    <a:pt x="65708" y="44749"/>
                  </a:cubicBezTo>
                  <a:lnTo>
                    <a:pt x="65708" y="35769"/>
                  </a:lnTo>
                  <a:cubicBezTo>
                    <a:pt x="65708" y="26204"/>
                    <a:pt x="57827" y="21415"/>
                    <a:pt x="44948" y="21415"/>
                  </a:cubicBezTo>
                  <a:lnTo>
                    <a:pt x="25931" y="21415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003834C3-A858-82DE-C28C-0A84E4CAB689}"/>
                </a:ext>
              </a:extLst>
            </p:cNvPr>
            <p:cNvSpPr/>
            <p:nvPr/>
          </p:nvSpPr>
          <p:spPr>
            <a:xfrm>
              <a:off x="11158663" y="6634615"/>
              <a:ext cx="2698" cy="130887"/>
            </a:xfrm>
            <a:custGeom>
              <a:avLst/>
              <a:gdLst>
                <a:gd name="connsiteX0" fmla="*/ 0 w 2698"/>
                <a:gd name="connsiteY0" fmla="*/ 0 h 130887"/>
                <a:gd name="connsiteX1" fmla="*/ 2698 w 2698"/>
                <a:gd name="connsiteY1" fmla="*/ 0 h 130887"/>
                <a:gd name="connsiteX2" fmla="*/ 2698 w 2698"/>
                <a:gd name="connsiteY2" fmla="*/ 130888 h 130887"/>
                <a:gd name="connsiteX3" fmla="*/ 0 w 2698"/>
                <a:gd name="connsiteY3" fmla="*/ 130888 h 130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8" h="130887">
                  <a:moveTo>
                    <a:pt x="0" y="0"/>
                  </a:moveTo>
                  <a:lnTo>
                    <a:pt x="2698" y="0"/>
                  </a:lnTo>
                  <a:lnTo>
                    <a:pt x="2698" y="130888"/>
                  </a:lnTo>
                  <a:lnTo>
                    <a:pt x="0" y="13088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6DE9DC16-209C-773B-7DFF-4A2C1CC0FDEA}"/>
                </a:ext>
              </a:extLst>
            </p:cNvPr>
            <p:cNvSpPr/>
            <p:nvPr/>
          </p:nvSpPr>
          <p:spPr>
            <a:xfrm>
              <a:off x="11206955" y="6634013"/>
              <a:ext cx="41295" cy="57537"/>
            </a:xfrm>
            <a:custGeom>
              <a:avLst/>
              <a:gdLst>
                <a:gd name="connsiteX0" fmla="*/ 1785 w 41295"/>
                <a:gd name="connsiteY0" fmla="*/ 57538 h 57537"/>
                <a:gd name="connsiteX1" fmla="*/ 0 w 41295"/>
                <a:gd name="connsiteY1" fmla="*/ 55336 h 57537"/>
                <a:gd name="connsiteX2" fmla="*/ 0 w 41295"/>
                <a:gd name="connsiteY2" fmla="*/ 2202 h 57537"/>
                <a:gd name="connsiteX3" fmla="*/ 2040 w 41295"/>
                <a:gd name="connsiteY3" fmla="*/ 0 h 57537"/>
                <a:gd name="connsiteX4" fmla="*/ 20564 w 41295"/>
                <a:gd name="connsiteY4" fmla="*/ 0 h 57537"/>
                <a:gd name="connsiteX5" fmla="*/ 41295 w 41295"/>
                <a:gd name="connsiteY5" fmla="*/ 13793 h 57537"/>
                <a:gd name="connsiteX6" fmla="*/ 41295 w 41295"/>
                <a:gd name="connsiteY6" fmla="*/ 43745 h 57537"/>
                <a:gd name="connsiteX7" fmla="*/ 20564 w 41295"/>
                <a:gd name="connsiteY7" fmla="*/ 57538 h 57537"/>
                <a:gd name="connsiteX8" fmla="*/ 1779 w 41295"/>
                <a:gd name="connsiteY8" fmla="*/ 57538 h 57537"/>
                <a:gd name="connsiteX9" fmla="*/ 11468 w 41295"/>
                <a:gd name="connsiteY9" fmla="*/ 9476 h 57537"/>
                <a:gd name="connsiteX10" fmla="*/ 11468 w 41295"/>
                <a:gd name="connsiteY10" fmla="*/ 48061 h 57537"/>
                <a:gd name="connsiteX11" fmla="*/ 20564 w 41295"/>
                <a:gd name="connsiteY11" fmla="*/ 48061 h 57537"/>
                <a:gd name="connsiteX12" fmla="*/ 29821 w 41295"/>
                <a:gd name="connsiteY12" fmla="*/ 41714 h 57537"/>
                <a:gd name="connsiteX13" fmla="*/ 29821 w 41295"/>
                <a:gd name="connsiteY13" fmla="*/ 15824 h 57537"/>
                <a:gd name="connsiteX14" fmla="*/ 20564 w 41295"/>
                <a:gd name="connsiteY14" fmla="*/ 9476 h 57537"/>
                <a:gd name="connsiteX15" fmla="*/ 11468 w 41295"/>
                <a:gd name="connsiteY15" fmla="*/ 9476 h 5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295" h="57537">
                  <a:moveTo>
                    <a:pt x="1785" y="57538"/>
                  </a:moveTo>
                  <a:cubicBezTo>
                    <a:pt x="427" y="57538"/>
                    <a:pt x="0" y="56776"/>
                    <a:pt x="0" y="55336"/>
                  </a:cubicBezTo>
                  <a:lnTo>
                    <a:pt x="0" y="2202"/>
                  </a:lnTo>
                  <a:cubicBezTo>
                    <a:pt x="0" y="679"/>
                    <a:pt x="510" y="0"/>
                    <a:pt x="2040" y="0"/>
                  </a:cubicBezTo>
                  <a:lnTo>
                    <a:pt x="20564" y="0"/>
                  </a:lnTo>
                  <a:cubicBezTo>
                    <a:pt x="35946" y="0"/>
                    <a:pt x="41295" y="6684"/>
                    <a:pt x="41295" y="13793"/>
                  </a:cubicBezTo>
                  <a:lnTo>
                    <a:pt x="41295" y="43745"/>
                  </a:lnTo>
                  <a:cubicBezTo>
                    <a:pt x="41295" y="50854"/>
                    <a:pt x="35940" y="57538"/>
                    <a:pt x="20564" y="57538"/>
                  </a:cubicBezTo>
                  <a:lnTo>
                    <a:pt x="1779" y="57538"/>
                  </a:lnTo>
                  <a:close/>
                  <a:moveTo>
                    <a:pt x="11468" y="9476"/>
                  </a:moveTo>
                  <a:lnTo>
                    <a:pt x="11468" y="48061"/>
                  </a:lnTo>
                  <a:lnTo>
                    <a:pt x="20564" y="48061"/>
                  </a:lnTo>
                  <a:cubicBezTo>
                    <a:pt x="26340" y="48061"/>
                    <a:pt x="29821" y="45942"/>
                    <a:pt x="29821" y="41714"/>
                  </a:cubicBezTo>
                  <a:lnTo>
                    <a:pt x="29821" y="15824"/>
                  </a:lnTo>
                  <a:cubicBezTo>
                    <a:pt x="29821" y="11590"/>
                    <a:pt x="26340" y="9476"/>
                    <a:pt x="20564" y="9476"/>
                  </a:cubicBezTo>
                  <a:lnTo>
                    <a:pt x="11468" y="947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9B80058-2325-C529-6DBB-DCB8BB7FFA04}"/>
                </a:ext>
              </a:extLst>
            </p:cNvPr>
            <p:cNvSpPr/>
            <p:nvPr/>
          </p:nvSpPr>
          <p:spPr>
            <a:xfrm>
              <a:off x="11257436" y="6648738"/>
              <a:ext cx="34499" cy="43491"/>
            </a:xfrm>
            <a:custGeom>
              <a:avLst/>
              <a:gdLst>
                <a:gd name="connsiteX0" fmla="*/ 34494 w 34499"/>
                <a:gd name="connsiteY0" fmla="*/ 22248 h 43491"/>
                <a:gd name="connsiteX1" fmla="*/ 32626 w 34499"/>
                <a:gd name="connsiteY1" fmla="*/ 24196 h 43491"/>
                <a:gd name="connsiteX2" fmla="*/ 10875 w 34499"/>
                <a:gd name="connsiteY2" fmla="*/ 24196 h 43491"/>
                <a:gd name="connsiteX3" fmla="*/ 10875 w 34499"/>
                <a:gd name="connsiteY3" fmla="*/ 30461 h 43491"/>
                <a:gd name="connsiteX4" fmla="*/ 17505 w 34499"/>
                <a:gd name="connsiteY4" fmla="*/ 35113 h 43491"/>
                <a:gd name="connsiteX5" fmla="*/ 24134 w 34499"/>
                <a:gd name="connsiteY5" fmla="*/ 30461 h 43491"/>
                <a:gd name="connsiteX6" fmla="*/ 24134 w 34499"/>
                <a:gd name="connsiteY6" fmla="*/ 30035 h 43491"/>
                <a:gd name="connsiteX7" fmla="*/ 26257 w 34499"/>
                <a:gd name="connsiteY7" fmla="*/ 27922 h 43491"/>
                <a:gd name="connsiteX8" fmla="*/ 32205 w 34499"/>
                <a:gd name="connsiteY8" fmla="*/ 27922 h 43491"/>
                <a:gd name="connsiteX9" fmla="*/ 34328 w 34499"/>
                <a:gd name="connsiteY9" fmla="*/ 30035 h 43491"/>
                <a:gd name="connsiteX10" fmla="*/ 34328 w 34499"/>
                <a:gd name="connsiteY10" fmla="*/ 30968 h 43491"/>
                <a:gd name="connsiteX11" fmla="*/ 17416 w 34499"/>
                <a:gd name="connsiteY11" fmla="*/ 43491 h 43491"/>
                <a:gd name="connsiteX12" fmla="*/ 0 w 34499"/>
                <a:gd name="connsiteY12" fmla="*/ 30968 h 43491"/>
                <a:gd name="connsiteX13" fmla="*/ 0 w 34499"/>
                <a:gd name="connsiteY13" fmla="*/ 12435 h 43491"/>
                <a:gd name="connsiteX14" fmla="*/ 17505 w 34499"/>
                <a:gd name="connsiteY14" fmla="*/ 0 h 43491"/>
                <a:gd name="connsiteX15" fmla="*/ 34499 w 34499"/>
                <a:gd name="connsiteY15" fmla="*/ 12435 h 43491"/>
                <a:gd name="connsiteX16" fmla="*/ 34499 w 34499"/>
                <a:gd name="connsiteY16" fmla="*/ 22254 h 43491"/>
                <a:gd name="connsiteX17" fmla="*/ 10869 w 34499"/>
                <a:gd name="connsiteY17" fmla="*/ 16751 h 43491"/>
                <a:gd name="connsiteX18" fmla="*/ 24128 w 34499"/>
                <a:gd name="connsiteY18" fmla="*/ 16751 h 43491"/>
                <a:gd name="connsiteX19" fmla="*/ 24128 w 34499"/>
                <a:gd name="connsiteY19" fmla="*/ 13025 h 43491"/>
                <a:gd name="connsiteX20" fmla="*/ 17499 w 34499"/>
                <a:gd name="connsiteY20" fmla="*/ 8372 h 43491"/>
                <a:gd name="connsiteX21" fmla="*/ 10869 w 34499"/>
                <a:gd name="connsiteY21" fmla="*/ 13025 h 43491"/>
                <a:gd name="connsiteX22" fmla="*/ 10869 w 34499"/>
                <a:gd name="connsiteY22" fmla="*/ 16751 h 43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499" h="43491">
                  <a:moveTo>
                    <a:pt x="34494" y="22248"/>
                  </a:moveTo>
                  <a:cubicBezTo>
                    <a:pt x="34494" y="23600"/>
                    <a:pt x="33984" y="24196"/>
                    <a:pt x="32626" y="24196"/>
                  </a:cubicBezTo>
                  <a:lnTo>
                    <a:pt x="10875" y="24196"/>
                  </a:lnTo>
                  <a:lnTo>
                    <a:pt x="10875" y="30461"/>
                  </a:lnTo>
                  <a:cubicBezTo>
                    <a:pt x="10875" y="33419"/>
                    <a:pt x="12488" y="35113"/>
                    <a:pt x="17505" y="35113"/>
                  </a:cubicBezTo>
                  <a:cubicBezTo>
                    <a:pt x="22521" y="35113"/>
                    <a:pt x="24134" y="33419"/>
                    <a:pt x="24134" y="30461"/>
                  </a:cubicBezTo>
                  <a:lnTo>
                    <a:pt x="24134" y="30035"/>
                  </a:lnTo>
                  <a:cubicBezTo>
                    <a:pt x="24134" y="28595"/>
                    <a:pt x="24727" y="27922"/>
                    <a:pt x="26257" y="27922"/>
                  </a:cubicBezTo>
                  <a:lnTo>
                    <a:pt x="32205" y="27922"/>
                  </a:lnTo>
                  <a:cubicBezTo>
                    <a:pt x="33652" y="27922"/>
                    <a:pt x="34328" y="28595"/>
                    <a:pt x="34328" y="30035"/>
                  </a:cubicBezTo>
                  <a:lnTo>
                    <a:pt x="34328" y="30968"/>
                  </a:lnTo>
                  <a:cubicBezTo>
                    <a:pt x="34328" y="38585"/>
                    <a:pt x="29910" y="43491"/>
                    <a:pt x="17416" y="43491"/>
                  </a:cubicBezTo>
                  <a:cubicBezTo>
                    <a:pt x="4922" y="43491"/>
                    <a:pt x="0" y="38585"/>
                    <a:pt x="0" y="30968"/>
                  </a:cubicBezTo>
                  <a:lnTo>
                    <a:pt x="0" y="12435"/>
                  </a:lnTo>
                  <a:cubicBezTo>
                    <a:pt x="0" y="4907"/>
                    <a:pt x="5011" y="0"/>
                    <a:pt x="17505" y="0"/>
                  </a:cubicBezTo>
                  <a:cubicBezTo>
                    <a:pt x="29999" y="0"/>
                    <a:pt x="34499" y="4907"/>
                    <a:pt x="34499" y="12435"/>
                  </a:cubicBezTo>
                  <a:lnTo>
                    <a:pt x="34499" y="22254"/>
                  </a:lnTo>
                  <a:close/>
                  <a:moveTo>
                    <a:pt x="10869" y="16751"/>
                  </a:moveTo>
                  <a:lnTo>
                    <a:pt x="24128" y="16751"/>
                  </a:lnTo>
                  <a:lnTo>
                    <a:pt x="24128" y="13025"/>
                  </a:lnTo>
                  <a:cubicBezTo>
                    <a:pt x="24128" y="10067"/>
                    <a:pt x="22260" y="8372"/>
                    <a:pt x="17499" y="8372"/>
                  </a:cubicBezTo>
                  <a:cubicBezTo>
                    <a:pt x="12737" y="8372"/>
                    <a:pt x="10869" y="10067"/>
                    <a:pt x="10869" y="13025"/>
                  </a:cubicBezTo>
                  <a:lnTo>
                    <a:pt x="10869" y="16751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7037EB63-18B1-68BD-C42D-BF4DEAC1B2C2}"/>
                </a:ext>
              </a:extLst>
            </p:cNvPr>
            <p:cNvSpPr/>
            <p:nvPr/>
          </p:nvSpPr>
          <p:spPr>
            <a:xfrm>
              <a:off x="11206944" y="6705987"/>
              <a:ext cx="51595" cy="57537"/>
            </a:xfrm>
            <a:custGeom>
              <a:avLst/>
              <a:gdLst>
                <a:gd name="connsiteX0" fmla="*/ 51595 w 51595"/>
                <a:gd name="connsiteY0" fmla="*/ 55424 h 57537"/>
                <a:gd name="connsiteX1" fmla="*/ 49555 w 51595"/>
                <a:gd name="connsiteY1" fmla="*/ 57538 h 57537"/>
                <a:gd name="connsiteX2" fmla="*/ 42499 w 51595"/>
                <a:gd name="connsiteY2" fmla="*/ 57538 h 57537"/>
                <a:gd name="connsiteX3" fmla="*/ 40459 w 51595"/>
                <a:gd name="connsiteY3" fmla="*/ 55424 h 57537"/>
                <a:gd name="connsiteX4" fmla="*/ 40459 w 51595"/>
                <a:gd name="connsiteY4" fmla="*/ 23269 h 57537"/>
                <a:gd name="connsiteX5" fmla="*/ 37992 w 51595"/>
                <a:gd name="connsiteY5" fmla="*/ 30968 h 57537"/>
                <a:gd name="connsiteX6" fmla="*/ 31529 w 51595"/>
                <a:gd name="connsiteY6" fmla="*/ 46703 h 57537"/>
                <a:gd name="connsiteX7" fmla="*/ 28724 w 51595"/>
                <a:gd name="connsiteY7" fmla="*/ 48817 h 57537"/>
                <a:gd name="connsiteX8" fmla="*/ 22693 w 51595"/>
                <a:gd name="connsiteY8" fmla="*/ 48817 h 57537"/>
                <a:gd name="connsiteX9" fmla="*/ 19972 w 51595"/>
                <a:gd name="connsiteY9" fmla="*/ 46703 h 57537"/>
                <a:gd name="connsiteX10" fmla="*/ 12749 w 51595"/>
                <a:gd name="connsiteY10" fmla="*/ 29693 h 57537"/>
                <a:gd name="connsiteX11" fmla="*/ 10792 w 51595"/>
                <a:gd name="connsiteY11" fmla="*/ 23434 h 57537"/>
                <a:gd name="connsiteX12" fmla="*/ 10792 w 51595"/>
                <a:gd name="connsiteY12" fmla="*/ 55418 h 57537"/>
                <a:gd name="connsiteX13" fmla="*/ 8752 w 51595"/>
                <a:gd name="connsiteY13" fmla="*/ 57532 h 57537"/>
                <a:gd name="connsiteX14" fmla="*/ 2040 w 51595"/>
                <a:gd name="connsiteY14" fmla="*/ 57532 h 57537"/>
                <a:gd name="connsiteX15" fmla="*/ 0 w 51595"/>
                <a:gd name="connsiteY15" fmla="*/ 55418 h 57537"/>
                <a:gd name="connsiteX16" fmla="*/ 0 w 51595"/>
                <a:gd name="connsiteY16" fmla="*/ 2114 h 57537"/>
                <a:gd name="connsiteX17" fmla="*/ 2040 w 51595"/>
                <a:gd name="connsiteY17" fmla="*/ 0 h 57537"/>
                <a:gd name="connsiteX18" fmla="*/ 8752 w 51595"/>
                <a:gd name="connsiteY18" fmla="*/ 0 h 57537"/>
                <a:gd name="connsiteX19" fmla="*/ 10620 w 51595"/>
                <a:gd name="connsiteY19" fmla="*/ 1187 h 57537"/>
                <a:gd name="connsiteX20" fmla="*/ 23624 w 51595"/>
                <a:gd name="connsiteY20" fmla="*/ 30714 h 57537"/>
                <a:gd name="connsiteX21" fmla="*/ 25747 w 51595"/>
                <a:gd name="connsiteY21" fmla="*/ 36637 h 57537"/>
                <a:gd name="connsiteX22" fmla="*/ 27953 w 51595"/>
                <a:gd name="connsiteY22" fmla="*/ 30797 h 57537"/>
                <a:gd name="connsiteX23" fmla="*/ 40530 w 51595"/>
                <a:gd name="connsiteY23" fmla="*/ 1016 h 57537"/>
                <a:gd name="connsiteX24" fmla="*/ 42487 w 51595"/>
                <a:gd name="connsiteY24" fmla="*/ 0 h 57537"/>
                <a:gd name="connsiteX25" fmla="*/ 49543 w 51595"/>
                <a:gd name="connsiteY25" fmla="*/ 0 h 57537"/>
                <a:gd name="connsiteX26" fmla="*/ 51583 w 51595"/>
                <a:gd name="connsiteY26" fmla="*/ 2114 h 57537"/>
                <a:gd name="connsiteX27" fmla="*/ 51583 w 51595"/>
                <a:gd name="connsiteY27" fmla="*/ 55418 h 5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1595" h="57537">
                  <a:moveTo>
                    <a:pt x="51595" y="55424"/>
                  </a:moveTo>
                  <a:cubicBezTo>
                    <a:pt x="51595" y="56865"/>
                    <a:pt x="51085" y="57538"/>
                    <a:pt x="49555" y="57538"/>
                  </a:cubicBezTo>
                  <a:lnTo>
                    <a:pt x="42499" y="57538"/>
                  </a:lnTo>
                  <a:cubicBezTo>
                    <a:pt x="40969" y="57538"/>
                    <a:pt x="40459" y="56865"/>
                    <a:pt x="40459" y="55424"/>
                  </a:cubicBezTo>
                  <a:lnTo>
                    <a:pt x="40459" y="23269"/>
                  </a:lnTo>
                  <a:cubicBezTo>
                    <a:pt x="40376" y="23523"/>
                    <a:pt x="38846" y="28683"/>
                    <a:pt x="37992" y="30968"/>
                  </a:cubicBezTo>
                  <a:lnTo>
                    <a:pt x="31529" y="46703"/>
                  </a:lnTo>
                  <a:cubicBezTo>
                    <a:pt x="30936" y="48056"/>
                    <a:pt x="30171" y="48817"/>
                    <a:pt x="28724" y="48817"/>
                  </a:cubicBezTo>
                  <a:lnTo>
                    <a:pt x="22693" y="48817"/>
                  </a:lnTo>
                  <a:cubicBezTo>
                    <a:pt x="21246" y="48817"/>
                    <a:pt x="20487" y="47973"/>
                    <a:pt x="19972" y="46703"/>
                  </a:cubicBezTo>
                  <a:lnTo>
                    <a:pt x="12749" y="29693"/>
                  </a:lnTo>
                  <a:cubicBezTo>
                    <a:pt x="11895" y="27916"/>
                    <a:pt x="10881" y="24025"/>
                    <a:pt x="10792" y="23434"/>
                  </a:cubicBezTo>
                  <a:lnTo>
                    <a:pt x="10792" y="55418"/>
                  </a:lnTo>
                  <a:cubicBezTo>
                    <a:pt x="10792" y="56859"/>
                    <a:pt x="10282" y="57532"/>
                    <a:pt x="8752" y="57532"/>
                  </a:cubicBezTo>
                  <a:lnTo>
                    <a:pt x="2040" y="57532"/>
                  </a:lnTo>
                  <a:cubicBezTo>
                    <a:pt x="510" y="57532"/>
                    <a:pt x="0" y="56859"/>
                    <a:pt x="0" y="55418"/>
                  </a:cubicBezTo>
                  <a:lnTo>
                    <a:pt x="0" y="2114"/>
                  </a:lnTo>
                  <a:cubicBezTo>
                    <a:pt x="0" y="673"/>
                    <a:pt x="510" y="0"/>
                    <a:pt x="2040" y="0"/>
                  </a:cubicBezTo>
                  <a:lnTo>
                    <a:pt x="8752" y="0"/>
                  </a:lnTo>
                  <a:cubicBezTo>
                    <a:pt x="9855" y="0"/>
                    <a:pt x="10276" y="425"/>
                    <a:pt x="10620" y="1187"/>
                  </a:cubicBezTo>
                  <a:lnTo>
                    <a:pt x="23624" y="30714"/>
                  </a:lnTo>
                  <a:cubicBezTo>
                    <a:pt x="24644" y="32999"/>
                    <a:pt x="25747" y="36637"/>
                    <a:pt x="25747" y="36637"/>
                  </a:cubicBezTo>
                  <a:cubicBezTo>
                    <a:pt x="25747" y="36637"/>
                    <a:pt x="26850" y="33336"/>
                    <a:pt x="27953" y="30797"/>
                  </a:cubicBezTo>
                  <a:lnTo>
                    <a:pt x="40530" y="1016"/>
                  </a:lnTo>
                  <a:cubicBezTo>
                    <a:pt x="40874" y="254"/>
                    <a:pt x="41467" y="0"/>
                    <a:pt x="42487" y="0"/>
                  </a:cubicBezTo>
                  <a:lnTo>
                    <a:pt x="49543" y="0"/>
                  </a:lnTo>
                  <a:cubicBezTo>
                    <a:pt x="51073" y="0"/>
                    <a:pt x="51583" y="679"/>
                    <a:pt x="51583" y="2114"/>
                  </a:cubicBezTo>
                  <a:lnTo>
                    <a:pt x="51583" y="5541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B33F09FE-E41C-D01C-FC5C-18E8BB95F7B8}"/>
                </a:ext>
              </a:extLst>
            </p:cNvPr>
            <p:cNvSpPr/>
            <p:nvPr/>
          </p:nvSpPr>
          <p:spPr>
            <a:xfrm>
              <a:off x="11307122" y="6721391"/>
              <a:ext cx="38532" cy="42133"/>
            </a:xfrm>
            <a:custGeom>
              <a:avLst/>
              <a:gdLst>
                <a:gd name="connsiteX0" fmla="*/ 38175 w 38532"/>
                <a:gd name="connsiteY0" fmla="*/ 40020 h 42133"/>
                <a:gd name="connsiteX1" fmla="*/ 37072 w 38532"/>
                <a:gd name="connsiteY1" fmla="*/ 42133 h 42133"/>
                <a:gd name="connsiteX2" fmla="*/ 29423 w 38532"/>
                <a:gd name="connsiteY2" fmla="*/ 42133 h 42133"/>
                <a:gd name="connsiteX3" fmla="*/ 26446 w 38532"/>
                <a:gd name="connsiteY3" fmla="*/ 40020 h 42133"/>
                <a:gd name="connsiteX4" fmla="*/ 18631 w 38532"/>
                <a:gd name="connsiteY4" fmla="*/ 28512 h 42133"/>
                <a:gd name="connsiteX5" fmla="*/ 11153 w 38532"/>
                <a:gd name="connsiteY5" fmla="*/ 40020 h 42133"/>
                <a:gd name="connsiteX6" fmla="*/ 8176 w 38532"/>
                <a:gd name="connsiteY6" fmla="*/ 42133 h 42133"/>
                <a:gd name="connsiteX7" fmla="*/ 1375 w 38532"/>
                <a:gd name="connsiteY7" fmla="*/ 42133 h 42133"/>
                <a:gd name="connsiteX8" fmla="*/ 361 w 38532"/>
                <a:gd name="connsiteY8" fmla="*/ 40020 h 42133"/>
                <a:gd name="connsiteX9" fmla="*/ 13365 w 38532"/>
                <a:gd name="connsiteY9" fmla="*/ 20648 h 42133"/>
                <a:gd name="connsiteX10" fmla="*/ 954 w 38532"/>
                <a:gd name="connsiteY10" fmla="*/ 2114 h 42133"/>
                <a:gd name="connsiteX11" fmla="*/ 1974 w 38532"/>
                <a:gd name="connsiteY11" fmla="*/ 0 h 42133"/>
                <a:gd name="connsiteX12" fmla="*/ 9623 w 38532"/>
                <a:gd name="connsiteY12" fmla="*/ 0 h 42133"/>
                <a:gd name="connsiteX13" fmla="*/ 12766 w 38532"/>
                <a:gd name="connsiteY13" fmla="*/ 2114 h 42133"/>
                <a:gd name="connsiteX14" fmla="*/ 20161 w 38532"/>
                <a:gd name="connsiteY14" fmla="*/ 13114 h 42133"/>
                <a:gd name="connsiteX15" fmla="*/ 27128 w 38532"/>
                <a:gd name="connsiteY15" fmla="*/ 2114 h 42133"/>
                <a:gd name="connsiteX16" fmla="*/ 30188 w 38532"/>
                <a:gd name="connsiteY16" fmla="*/ 0 h 42133"/>
                <a:gd name="connsiteX17" fmla="*/ 36989 w 38532"/>
                <a:gd name="connsiteY17" fmla="*/ 0 h 42133"/>
                <a:gd name="connsiteX18" fmla="*/ 38009 w 38532"/>
                <a:gd name="connsiteY18" fmla="*/ 2114 h 42133"/>
                <a:gd name="connsiteX19" fmla="*/ 25438 w 38532"/>
                <a:gd name="connsiteY19" fmla="*/ 20984 h 42133"/>
                <a:gd name="connsiteX20" fmla="*/ 38181 w 38532"/>
                <a:gd name="connsiteY20" fmla="*/ 40020 h 42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532" h="42133">
                  <a:moveTo>
                    <a:pt x="38175" y="40020"/>
                  </a:moveTo>
                  <a:cubicBezTo>
                    <a:pt x="38857" y="41035"/>
                    <a:pt x="38602" y="42133"/>
                    <a:pt x="37072" y="42133"/>
                  </a:cubicBezTo>
                  <a:lnTo>
                    <a:pt x="29423" y="42133"/>
                  </a:lnTo>
                  <a:cubicBezTo>
                    <a:pt x="27976" y="42133"/>
                    <a:pt x="27128" y="41035"/>
                    <a:pt x="26446" y="40020"/>
                  </a:cubicBezTo>
                  <a:lnTo>
                    <a:pt x="18631" y="28512"/>
                  </a:lnTo>
                  <a:lnTo>
                    <a:pt x="11153" y="40020"/>
                  </a:lnTo>
                  <a:cubicBezTo>
                    <a:pt x="10471" y="41035"/>
                    <a:pt x="9706" y="42133"/>
                    <a:pt x="8176" y="42133"/>
                  </a:cubicBezTo>
                  <a:lnTo>
                    <a:pt x="1375" y="42133"/>
                  </a:lnTo>
                  <a:cubicBezTo>
                    <a:pt x="-66" y="42133"/>
                    <a:pt x="-321" y="41035"/>
                    <a:pt x="361" y="40020"/>
                  </a:cubicBezTo>
                  <a:lnTo>
                    <a:pt x="13365" y="20648"/>
                  </a:lnTo>
                  <a:lnTo>
                    <a:pt x="954" y="2114"/>
                  </a:lnTo>
                  <a:cubicBezTo>
                    <a:pt x="189" y="1016"/>
                    <a:pt x="444" y="0"/>
                    <a:pt x="1974" y="0"/>
                  </a:cubicBezTo>
                  <a:lnTo>
                    <a:pt x="9623" y="0"/>
                  </a:lnTo>
                  <a:cubicBezTo>
                    <a:pt x="11153" y="0"/>
                    <a:pt x="11918" y="933"/>
                    <a:pt x="12766" y="2114"/>
                  </a:cubicBezTo>
                  <a:lnTo>
                    <a:pt x="20161" y="13114"/>
                  </a:lnTo>
                  <a:lnTo>
                    <a:pt x="27128" y="2114"/>
                  </a:lnTo>
                  <a:cubicBezTo>
                    <a:pt x="27893" y="927"/>
                    <a:pt x="28741" y="0"/>
                    <a:pt x="30188" y="0"/>
                  </a:cubicBezTo>
                  <a:lnTo>
                    <a:pt x="36989" y="0"/>
                  </a:lnTo>
                  <a:cubicBezTo>
                    <a:pt x="38436" y="0"/>
                    <a:pt x="38774" y="1016"/>
                    <a:pt x="38009" y="2114"/>
                  </a:cubicBezTo>
                  <a:lnTo>
                    <a:pt x="25438" y="20984"/>
                  </a:lnTo>
                  <a:lnTo>
                    <a:pt x="38181" y="4002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E99957F3-758B-74E5-C35C-404C6FA72DDB}"/>
                </a:ext>
              </a:extLst>
            </p:cNvPr>
            <p:cNvSpPr/>
            <p:nvPr/>
          </p:nvSpPr>
          <p:spPr>
            <a:xfrm>
              <a:off x="11351921" y="6704381"/>
              <a:ext cx="11136" cy="59149"/>
            </a:xfrm>
            <a:custGeom>
              <a:avLst/>
              <a:gdLst>
                <a:gd name="connsiteX0" fmla="*/ 11136 w 11136"/>
                <a:gd name="connsiteY0" fmla="*/ 9476 h 59149"/>
                <a:gd name="connsiteX1" fmla="*/ 9179 w 11136"/>
                <a:gd name="connsiteY1" fmla="*/ 11508 h 59149"/>
                <a:gd name="connsiteX2" fmla="*/ 2129 w 11136"/>
                <a:gd name="connsiteY2" fmla="*/ 11508 h 59149"/>
                <a:gd name="connsiteX3" fmla="*/ 0 w 11136"/>
                <a:gd name="connsiteY3" fmla="*/ 9476 h 59149"/>
                <a:gd name="connsiteX4" fmla="*/ 0 w 11136"/>
                <a:gd name="connsiteY4" fmla="*/ 2202 h 59149"/>
                <a:gd name="connsiteX5" fmla="*/ 2129 w 11136"/>
                <a:gd name="connsiteY5" fmla="*/ 0 h 59149"/>
                <a:gd name="connsiteX6" fmla="*/ 9179 w 11136"/>
                <a:gd name="connsiteY6" fmla="*/ 0 h 59149"/>
                <a:gd name="connsiteX7" fmla="*/ 11136 w 11136"/>
                <a:gd name="connsiteY7" fmla="*/ 2202 h 59149"/>
                <a:gd name="connsiteX8" fmla="*/ 11136 w 11136"/>
                <a:gd name="connsiteY8" fmla="*/ 9476 h 59149"/>
                <a:gd name="connsiteX9" fmla="*/ 11136 w 11136"/>
                <a:gd name="connsiteY9" fmla="*/ 56948 h 59149"/>
                <a:gd name="connsiteX10" fmla="*/ 9179 w 11136"/>
                <a:gd name="connsiteY10" fmla="*/ 59150 h 59149"/>
                <a:gd name="connsiteX11" fmla="*/ 2129 w 11136"/>
                <a:gd name="connsiteY11" fmla="*/ 59150 h 59149"/>
                <a:gd name="connsiteX12" fmla="*/ 0 w 11136"/>
                <a:gd name="connsiteY12" fmla="*/ 56948 h 59149"/>
                <a:gd name="connsiteX13" fmla="*/ 0 w 11136"/>
                <a:gd name="connsiteY13" fmla="*/ 19124 h 59149"/>
                <a:gd name="connsiteX14" fmla="*/ 2129 w 11136"/>
                <a:gd name="connsiteY14" fmla="*/ 17005 h 59149"/>
                <a:gd name="connsiteX15" fmla="*/ 9179 w 11136"/>
                <a:gd name="connsiteY15" fmla="*/ 17005 h 59149"/>
                <a:gd name="connsiteX16" fmla="*/ 11136 w 11136"/>
                <a:gd name="connsiteY16" fmla="*/ 19124 h 59149"/>
                <a:gd name="connsiteX17" fmla="*/ 11136 w 11136"/>
                <a:gd name="connsiteY17" fmla="*/ 56948 h 5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136" h="59149">
                  <a:moveTo>
                    <a:pt x="11136" y="9476"/>
                  </a:moveTo>
                  <a:cubicBezTo>
                    <a:pt x="11136" y="10917"/>
                    <a:pt x="10626" y="11508"/>
                    <a:pt x="9179" y="11508"/>
                  </a:cubicBezTo>
                  <a:lnTo>
                    <a:pt x="2129" y="11508"/>
                  </a:lnTo>
                  <a:cubicBezTo>
                    <a:pt x="599" y="11508"/>
                    <a:pt x="0" y="10911"/>
                    <a:pt x="0" y="9476"/>
                  </a:cubicBezTo>
                  <a:lnTo>
                    <a:pt x="0" y="2202"/>
                  </a:lnTo>
                  <a:cubicBezTo>
                    <a:pt x="0" y="679"/>
                    <a:pt x="599" y="0"/>
                    <a:pt x="2129" y="0"/>
                  </a:cubicBezTo>
                  <a:lnTo>
                    <a:pt x="9179" y="0"/>
                  </a:lnTo>
                  <a:cubicBezTo>
                    <a:pt x="10626" y="0"/>
                    <a:pt x="11136" y="679"/>
                    <a:pt x="11136" y="2202"/>
                  </a:cubicBezTo>
                  <a:lnTo>
                    <a:pt x="11136" y="9476"/>
                  </a:lnTo>
                  <a:close/>
                  <a:moveTo>
                    <a:pt x="11136" y="56948"/>
                  </a:moveTo>
                  <a:cubicBezTo>
                    <a:pt x="11136" y="58471"/>
                    <a:pt x="10626" y="59150"/>
                    <a:pt x="9179" y="59150"/>
                  </a:cubicBezTo>
                  <a:lnTo>
                    <a:pt x="2129" y="59150"/>
                  </a:lnTo>
                  <a:cubicBezTo>
                    <a:pt x="599" y="59150"/>
                    <a:pt x="0" y="58477"/>
                    <a:pt x="0" y="56948"/>
                  </a:cubicBezTo>
                  <a:lnTo>
                    <a:pt x="0" y="19124"/>
                  </a:lnTo>
                  <a:cubicBezTo>
                    <a:pt x="0" y="17601"/>
                    <a:pt x="599" y="17005"/>
                    <a:pt x="2129" y="17005"/>
                  </a:cubicBezTo>
                  <a:lnTo>
                    <a:pt x="9179" y="17005"/>
                  </a:lnTo>
                  <a:cubicBezTo>
                    <a:pt x="10626" y="17005"/>
                    <a:pt x="11136" y="17595"/>
                    <a:pt x="11136" y="19124"/>
                  </a:cubicBezTo>
                  <a:lnTo>
                    <a:pt x="11136" y="5694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E0F7B410-CE39-0A3B-E077-B384532F2B1B}"/>
                </a:ext>
              </a:extLst>
            </p:cNvPr>
            <p:cNvSpPr/>
            <p:nvPr/>
          </p:nvSpPr>
          <p:spPr>
            <a:xfrm>
              <a:off x="11372319" y="6720724"/>
              <a:ext cx="34926" cy="43485"/>
            </a:xfrm>
            <a:custGeom>
              <a:avLst/>
              <a:gdLst>
                <a:gd name="connsiteX0" fmla="*/ 34926 w 34926"/>
                <a:gd name="connsiteY0" fmla="*/ 12429 h 43485"/>
                <a:gd name="connsiteX1" fmla="*/ 34926 w 34926"/>
                <a:gd name="connsiteY1" fmla="*/ 13869 h 43485"/>
                <a:gd name="connsiteX2" fmla="*/ 32887 w 34926"/>
                <a:gd name="connsiteY2" fmla="*/ 15900 h 43485"/>
                <a:gd name="connsiteX3" fmla="*/ 26340 w 34926"/>
                <a:gd name="connsiteY3" fmla="*/ 15900 h 43485"/>
                <a:gd name="connsiteX4" fmla="*/ 24211 w 34926"/>
                <a:gd name="connsiteY4" fmla="*/ 13869 h 43485"/>
                <a:gd name="connsiteX5" fmla="*/ 24211 w 34926"/>
                <a:gd name="connsiteY5" fmla="*/ 13279 h 43485"/>
                <a:gd name="connsiteX6" fmla="*/ 17671 w 34926"/>
                <a:gd name="connsiteY6" fmla="*/ 8797 h 43485"/>
                <a:gd name="connsiteX7" fmla="*/ 11124 w 34926"/>
                <a:gd name="connsiteY7" fmla="*/ 13279 h 43485"/>
                <a:gd name="connsiteX8" fmla="*/ 11124 w 34926"/>
                <a:gd name="connsiteY8" fmla="*/ 30118 h 43485"/>
                <a:gd name="connsiteX9" fmla="*/ 17671 w 34926"/>
                <a:gd name="connsiteY9" fmla="*/ 34688 h 43485"/>
                <a:gd name="connsiteX10" fmla="*/ 24211 w 34926"/>
                <a:gd name="connsiteY10" fmla="*/ 30118 h 43485"/>
                <a:gd name="connsiteX11" fmla="*/ 24211 w 34926"/>
                <a:gd name="connsiteY11" fmla="*/ 28849 h 43485"/>
                <a:gd name="connsiteX12" fmla="*/ 26340 w 34926"/>
                <a:gd name="connsiteY12" fmla="*/ 26735 h 43485"/>
                <a:gd name="connsiteX13" fmla="*/ 32887 w 34926"/>
                <a:gd name="connsiteY13" fmla="*/ 26735 h 43485"/>
                <a:gd name="connsiteX14" fmla="*/ 34926 w 34926"/>
                <a:gd name="connsiteY14" fmla="*/ 28849 h 43485"/>
                <a:gd name="connsiteX15" fmla="*/ 34926 w 34926"/>
                <a:gd name="connsiteY15" fmla="*/ 30962 h 43485"/>
                <a:gd name="connsiteX16" fmla="*/ 17416 w 34926"/>
                <a:gd name="connsiteY16" fmla="*/ 43486 h 43485"/>
                <a:gd name="connsiteX17" fmla="*/ 0 w 34926"/>
                <a:gd name="connsiteY17" fmla="*/ 30962 h 43485"/>
                <a:gd name="connsiteX18" fmla="*/ 0 w 34926"/>
                <a:gd name="connsiteY18" fmla="*/ 12435 h 43485"/>
                <a:gd name="connsiteX19" fmla="*/ 17505 w 34926"/>
                <a:gd name="connsiteY19" fmla="*/ 0 h 43485"/>
                <a:gd name="connsiteX20" fmla="*/ 34926 w 34926"/>
                <a:gd name="connsiteY20" fmla="*/ 12435 h 4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926" h="43485">
                  <a:moveTo>
                    <a:pt x="34926" y="12429"/>
                  </a:moveTo>
                  <a:lnTo>
                    <a:pt x="34926" y="13869"/>
                  </a:lnTo>
                  <a:cubicBezTo>
                    <a:pt x="34926" y="15393"/>
                    <a:pt x="34328" y="15900"/>
                    <a:pt x="32887" y="15900"/>
                  </a:cubicBezTo>
                  <a:lnTo>
                    <a:pt x="26340" y="15900"/>
                  </a:lnTo>
                  <a:cubicBezTo>
                    <a:pt x="24810" y="15900"/>
                    <a:pt x="24211" y="15393"/>
                    <a:pt x="24211" y="13869"/>
                  </a:cubicBezTo>
                  <a:lnTo>
                    <a:pt x="24211" y="13279"/>
                  </a:lnTo>
                  <a:cubicBezTo>
                    <a:pt x="24211" y="10150"/>
                    <a:pt x="22509" y="8797"/>
                    <a:pt x="17671" y="8797"/>
                  </a:cubicBezTo>
                  <a:cubicBezTo>
                    <a:pt x="12832" y="8797"/>
                    <a:pt x="11124" y="10150"/>
                    <a:pt x="11124" y="13279"/>
                  </a:cubicBezTo>
                  <a:lnTo>
                    <a:pt x="11124" y="30118"/>
                  </a:lnTo>
                  <a:cubicBezTo>
                    <a:pt x="11124" y="33247"/>
                    <a:pt x="12826" y="34688"/>
                    <a:pt x="17671" y="34688"/>
                  </a:cubicBezTo>
                  <a:cubicBezTo>
                    <a:pt x="22515" y="34688"/>
                    <a:pt x="24211" y="33247"/>
                    <a:pt x="24211" y="30118"/>
                  </a:cubicBezTo>
                  <a:lnTo>
                    <a:pt x="24211" y="28849"/>
                  </a:lnTo>
                  <a:cubicBezTo>
                    <a:pt x="24211" y="27325"/>
                    <a:pt x="24810" y="26735"/>
                    <a:pt x="26340" y="26735"/>
                  </a:cubicBezTo>
                  <a:lnTo>
                    <a:pt x="32887" y="26735"/>
                  </a:lnTo>
                  <a:cubicBezTo>
                    <a:pt x="34328" y="26735"/>
                    <a:pt x="34926" y="27325"/>
                    <a:pt x="34926" y="28849"/>
                  </a:cubicBezTo>
                  <a:lnTo>
                    <a:pt x="34926" y="30962"/>
                  </a:lnTo>
                  <a:cubicBezTo>
                    <a:pt x="34926" y="38579"/>
                    <a:pt x="29827" y="43486"/>
                    <a:pt x="17416" y="43486"/>
                  </a:cubicBezTo>
                  <a:cubicBezTo>
                    <a:pt x="5005" y="43486"/>
                    <a:pt x="0" y="38579"/>
                    <a:pt x="0" y="30962"/>
                  </a:cubicBezTo>
                  <a:lnTo>
                    <a:pt x="0" y="12435"/>
                  </a:lnTo>
                  <a:cubicBezTo>
                    <a:pt x="0" y="4907"/>
                    <a:pt x="5011" y="0"/>
                    <a:pt x="17505" y="0"/>
                  </a:cubicBezTo>
                  <a:cubicBezTo>
                    <a:pt x="29999" y="0"/>
                    <a:pt x="34926" y="4907"/>
                    <a:pt x="34926" y="12435"/>
                  </a:cubicBezTo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FA2664D8-7EE6-B040-FCC2-529835C4CEA3}"/>
                </a:ext>
              </a:extLst>
            </p:cNvPr>
            <p:cNvSpPr/>
            <p:nvPr/>
          </p:nvSpPr>
          <p:spPr>
            <a:xfrm>
              <a:off x="11414124" y="6720718"/>
              <a:ext cx="36711" cy="43485"/>
            </a:xfrm>
            <a:custGeom>
              <a:avLst/>
              <a:gdLst>
                <a:gd name="connsiteX0" fmla="*/ 0 w 36711"/>
                <a:gd name="connsiteY0" fmla="*/ 12435 h 43485"/>
                <a:gd name="connsiteX1" fmla="*/ 18353 w 36711"/>
                <a:gd name="connsiteY1" fmla="*/ 0 h 43485"/>
                <a:gd name="connsiteX2" fmla="*/ 36711 w 36711"/>
                <a:gd name="connsiteY2" fmla="*/ 12435 h 43485"/>
                <a:gd name="connsiteX3" fmla="*/ 36711 w 36711"/>
                <a:gd name="connsiteY3" fmla="*/ 30962 h 43485"/>
                <a:gd name="connsiteX4" fmla="*/ 18353 w 36711"/>
                <a:gd name="connsiteY4" fmla="*/ 43486 h 43485"/>
                <a:gd name="connsiteX5" fmla="*/ 0 w 36711"/>
                <a:gd name="connsiteY5" fmla="*/ 30962 h 43485"/>
                <a:gd name="connsiteX6" fmla="*/ 0 w 36711"/>
                <a:gd name="connsiteY6" fmla="*/ 12435 h 43485"/>
                <a:gd name="connsiteX7" fmla="*/ 25581 w 36711"/>
                <a:gd name="connsiteY7" fmla="*/ 13367 h 43485"/>
                <a:gd name="connsiteX8" fmla="*/ 18359 w 36711"/>
                <a:gd name="connsiteY8" fmla="*/ 8797 h 43485"/>
                <a:gd name="connsiteX9" fmla="*/ 11136 w 36711"/>
                <a:gd name="connsiteY9" fmla="*/ 13367 h 43485"/>
                <a:gd name="connsiteX10" fmla="*/ 11136 w 36711"/>
                <a:gd name="connsiteY10" fmla="*/ 30035 h 43485"/>
                <a:gd name="connsiteX11" fmla="*/ 18359 w 36711"/>
                <a:gd name="connsiteY11" fmla="*/ 34688 h 43485"/>
                <a:gd name="connsiteX12" fmla="*/ 25581 w 36711"/>
                <a:gd name="connsiteY12" fmla="*/ 30035 h 43485"/>
                <a:gd name="connsiteX13" fmla="*/ 25581 w 36711"/>
                <a:gd name="connsiteY13" fmla="*/ 13367 h 4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711" h="43485">
                  <a:moveTo>
                    <a:pt x="0" y="12435"/>
                  </a:moveTo>
                  <a:cubicBezTo>
                    <a:pt x="0" y="4907"/>
                    <a:pt x="5865" y="0"/>
                    <a:pt x="18353" y="0"/>
                  </a:cubicBezTo>
                  <a:cubicBezTo>
                    <a:pt x="30841" y="0"/>
                    <a:pt x="36711" y="4907"/>
                    <a:pt x="36711" y="12435"/>
                  </a:cubicBezTo>
                  <a:lnTo>
                    <a:pt x="36711" y="30962"/>
                  </a:lnTo>
                  <a:cubicBezTo>
                    <a:pt x="36711" y="38579"/>
                    <a:pt x="30847" y="43486"/>
                    <a:pt x="18353" y="43486"/>
                  </a:cubicBezTo>
                  <a:cubicBezTo>
                    <a:pt x="5859" y="43486"/>
                    <a:pt x="0" y="38579"/>
                    <a:pt x="0" y="30962"/>
                  </a:cubicBezTo>
                  <a:lnTo>
                    <a:pt x="0" y="12435"/>
                  </a:lnTo>
                  <a:close/>
                  <a:moveTo>
                    <a:pt x="25581" y="13367"/>
                  </a:moveTo>
                  <a:cubicBezTo>
                    <a:pt x="25581" y="10238"/>
                    <a:pt x="23114" y="8797"/>
                    <a:pt x="18359" y="8797"/>
                  </a:cubicBezTo>
                  <a:cubicBezTo>
                    <a:pt x="13603" y="8797"/>
                    <a:pt x="11136" y="10238"/>
                    <a:pt x="11136" y="13367"/>
                  </a:cubicBezTo>
                  <a:lnTo>
                    <a:pt x="11136" y="30035"/>
                  </a:lnTo>
                  <a:cubicBezTo>
                    <a:pt x="11136" y="33247"/>
                    <a:pt x="13603" y="34688"/>
                    <a:pt x="18359" y="34688"/>
                  </a:cubicBezTo>
                  <a:cubicBezTo>
                    <a:pt x="23114" y="34688"/>
                    <a:pt x="25581" y="33247"/>
                    <a:pt x="25581" y="30035"/>
                  </a:cubicBezTo>
                  <a:lnTo>
                    <a:pt x="25581" y="13367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6F96B34-9EE7-0D65-6233-D0594836A3BF}"/>
                </a:ext>
              </a:extLst>
            </p:cNvPr>
            <p:cNvSpPr/>
            <p:nvPr/>
          </p:nvSpPr>
          <p:spPr>
            <a:xfrm>
              <a:off x="11268560" y="6703625"/>
              <a:ext cx="34499" cy="60578"/>
            </a:xfrm>
            <a:custGeom>
              <a:avLst/>
              <a:gdLst>
                <a:gd name="connsiteX0" fmla="*/ 34499 w 34499"/>
                <a:gd name="connsiteY0" fmla="*/ 39341 h 60578"/>
                <a:gd name="connsiteX1" fmla="*/ 32632 w 34499"/>
                <a:gd name="connsiteY1" fmla="*/ 41289 h 60578"/>
                <a:gd name="connsiteX2" fmla="*/ 10875 w 34499"/>
                <a:gd name="connsiteY2" fmla="*/ 41289 h 60578"/>
                <a:gd name="connsiteX3" fmla="*/ 10875 w 34499"/>
                <a:gd name="connsiteY3" fmla="*/ 47548 h 60578"/>
                <a:gd name="connsiteX4" fmla="*/ 17505 w 34499"/>
                <a:gd name="connsiteY4" fmla="*/ 52200 h 60578"/>
                <a:gd name="connsiteX5" fmla="*/ 24134 w 34499"/>
                <a:gd name="connsiteY5" fmla="*/ 47548 h 60578"/>
                <a:gd name="connsiteX6" fmla="*/ 24134 w 34499"/>
                <a:gd name="connsiteY6" fmla="*/ 47129 h 60578"/>
                <a:gd name="connsiteX7" fmla="*/ 26263 w 34499"/>
                <a:gd name="connsiteY7" fmla="*/ 45015 h 60578"/>
                <a:gd name="connsiteX8" fmla="*/ 32211 w 34499"/>
                <a:gd name="connsiteY8" fmla="*/ 45015 h 60578"/>
                <a:gd name="connsiteX9" fmla="*/ 34333 w 34499"/>
                <a:gd name="connsiteY9" fmla="*/ 47129 h 60578"/>
                <a:gd name="connsiteX10" fmla="*/ 34333 w 34499"/>
                <a:gd name="connsiteY10" fmla="*/ 48061 h 60578"/>
                <a:gd name="connsiteX11" fmla="*/ 17422 w 34499"/>
                <a:gd name="connsiteY11" fmla="*/ 60579 h 60578"/>
                <a:gd name="connsiteX12" fmla="*/ 0 w 34499"/>
                <a:gd name="connsiteY12" fmla="*/ 48061 h 60578"/>
                <a:gd name="connsiteX13" fmla="*/ 0 w 34499"/>
                <a:gd name="connsiteY13" fmla="*/ 29534 h 60578"/>
                <a:gd name="connsiteX14" fmla="*/ 17505 w 34499"/>
                <a:gd name="connsiteY14" fmla="*/ 17099 h 60578"/>
                <a:gd name="connsiteX15" fmla="*/ 34499 w 34499"/>
                <a:gd name="connsiteY15" fmla="*/ 29534 h 60578"/>
                <a:gd name="connsiteX16" fmla="*/ 34499 w 34499"/>
                <a:gd name="connsiteY16" fmla="*/ 39347 h 60578"/>
                <a:gd name="connsiteX17" fmla="*/ 10881 w 34499"/>
                <a:gd name="connsiteY17" fmla="*/ 33844 h 60578"/>
                <a:gd name="connsiteX18" fmla="*/ 24134 w 34499"/>
                <a:gd name="connsiteY18" fmla="*/ 33844 h 60578"/>
                <a:gd name="connsiteX19" fmla="*/ 24134 w 34499"/>
                <a:gd name="connsiteY19" fmla="*/ 30118 h 60578"/>
                <a:gd name="connsiteX20" fmla="*/ 17505 w 34499"/>
                <a:gd name="connsiteY20" fmla="*/ 25465 h 60578"/>
                <a:gd name="connsiteX21" fmla="*/ 10875 w 34499"/>
                <a:gd name="connsiteY21" fmla="*/ 30118 h 60578"/>
                <a:gd name="connsiteX22" fmla="*/ 10875 w 34499"/>
                <a:gd name="connsiteY22" fmla="*/ 33844 h 60578"/>
                <a:gd name="connsiteX23" fmla="*/ 21667 w 34499"/>
                <a:gd name="connsiteY23" fmla="*/ 11082 h 60578"/>
                <a:gd name="connsiteX24" fmla="*/ 18946 w 34499"/>
                <a:gd name="connsiteY24" fmla="*/ 12523 h 60578"/>
                <a:gd name="connsiteX25" fmla="*/ 13425 w 34499"/>
                <a:gd name="connsiteY25" fmla="*/ 12523 h 60578"/>
                <a:gd name="connsiteX26" fmla="*/ 12322 w 34499"/>
                <a:gd name="connsiteY26" fmla="*/ 10409 h 60578"/>
                <a:gd name="connsiteX27" fmla="*/ 16402 w 34499"/>
                <a:gd name="connsiteY27" fmla="*/ 2114 h 60578"/>
                <a:gd name="connsiteX28" fmla="*/ 19373 w 34499"/>
                <a:gd name="connsiteY28" fmla="*/ 0 h 60578"/>
                <a:gd name="connsiteX29" fmla="*/ 26767 w 34499"/>
                <a:gd name="connsiteY29" fmla="*/ 0 h 60578"/>
                <a:gd name="connsiteX30" fmla="*/ 27787 w 34499"/>
                <a:gd name="connsiteY30" fmla="*/ 2114 h 60578"/>
                <a:gd name="connsiteX31" fmla="*/ 21667 w 34499"/>
                <a:gd name="connsiteY31" fmla="*/ 11082 h 6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4499" h="60578">
                  <a:moveTo>
                    <a:pt x="34499" y="39341"/>
                  </a:moveTo>
                  <a:cubicBezTo>
                    <a:pt x="34499" y="40693"/>
                    <a:pt x="33990" y="41289"/>
                    <a:pt x="32632" y="41289"/>
                  </a:cubicBezTo>
                  <a:lnTo>
                    <a:pt x="10875" y="41289"/>
                  </a:lnTo>
                  <a:lnTo>
                    <a:pt x="10875" y="47548"/>
                  </a:lnTo>
                  <a:cubicBezTo>
                    <a:pt x="10875" y="50506"/>
                    <a:pt x="12488" y="52200"/>
                    <a:pt x="17505" y="52200"/>
                  </a:cubicBezTo>
                  <a:cubicBezTo>
                    <a:pt x="22521" y="52200"/>
                    <a:pt x="24134" y="50506"/>
                    <a:pt x="24134" y="47548"/>
                  </a:cubicBezTo>
                  <a:lnTo>
                    <a:pt x="24134" y="47129"/>
                  </a:lnTo>
                  <a:cubicBezTo>
                    <a:pt x="24134" y="45688"/>
                    <a:pt x="24727" y="45015"/>
                    <a:pt x="26263" y="45015"/>
                  </a:cubicBezTo>
                  <a:lnTo>
                    <a:pt x="32211" y="45015"/>
                  </a:lnTo>
                  <a:cubicBezTo>
                    <a:pt x="33657" y="45015"/>
                    <a:pt x="34333" y="45694"/>
                    <a:pt x="34333" y="47129"/>
                  </a:cubicBezTo>
                  <a:lnTo>
                    <a:pt x="34333" y="48061"/>
                  </a:lnTo>
                  <a:cubicBezTo>
                    <a:pt x="34333" y="55678"/>
                    <a:pt x="29916" y="60579"/>
                    <a:pt x="17422" y="60579"/>
                  </a:cubicBezTo>
                  <a:cubicBezTo>
                    <a:pt x="4928" y="60579"/>
                    <a:pt x="0" y="55672"/>
                    <a:pt x="0" y="48061"/>
                  </a:cubicBezTo>
                  <a:lnTo>
                    <a:pt x="0" y="29534"/>
                  </a:lnTo>
                  <a:cubicBezTo>
                    <a:pt x="0" y="22006"/>
                    <a:pt x="5017" y="17099"/>
                    <a:pt x="17505" y="17099"/>
                  </a:cubicBezTo>
                  <a:cubicBezTo>
                    <a:pt x="29993" y="17099"/>
                    <a:pt x="34499" y="22006"/>
                    <a:pt x="34499" y="29534"/>
                  </a:cubicBezTo>
                  <a:lnTo>
                    <a:pt x="34499" y="39347"/>
                  </a:lnTo>
                  <a:close/>
                  <a:moveTo>
                    <a:pt x="10881" y="33844"/>
                  </a:moveTo>
                  <a:lnTo>
                    <a:pt x="24134" y="33844"/>
                  </a:lnTo>
                  <a:lnTo>
                    <a:pt x="24134" y="30118"/>
                  </a:lnTo>
                  <a:cubicBezTo>
                    <a:pt x="24134" y="27154"/>
                    <a:pt x="22266" y="25465"/>
                    <a:pt x="17505" y="25465"/>
                  </a:cubicBezTo>
                  <a:cubicBezTo>
                    <a:pt x="12743" y="25465"/>
                    <a:pt x="10875" y="27160"/>
                    <a:pt x="10875" y="30118"/>
                  </a:cubicBezTo>
                  <a:lnTo>
                    <a:pt x="10875" y="33844"/>
                  </a:lnTo>
                  <a:close/>
                  <a:moveTo>
                    <a:pt x="21667" y="11082"/>
                  </a:moveTo>
                  <a:cubicBezTo>
                    <a:pt x="21240" y="11679"/>
                    <a:pt x="20393" y="12523"/>
                    <a:pt x="18946" y="12523"/>
                  </a:cubicBezTo>
                  <a:lnTo>
                    <a:pt x="13425" y="12523"/>
                  </a:lnTo>
                  <a:cubicBezTo>
                    <a:pt x="12150" y="12523"/>
                    <a:pt x="11640" y="11933"/>
                    <a:pt x="12322" y="10409"/>
                  </a:cubicBezTo>
                  <a:lnTo>
                    <a:pt x="16402" y="2114"/>
                  </a:lnTo>
                  <a:cubicBezTo>
                    <a:pt x="17001" y="844"/>
                    <a:pt x="17843" y="0"/>
                    <a:pt x="19373" y="0"/>
                  </a:cubicBezTo>
                  <a:lnTo>
                    <a:pt x="26767" y="0"/>
                  </a:lnTo>
                  <a:cubicBezTo>
                    <a:pt x="28214" y="0"/>
                    <a:pt x="28635" y="933"/>
                    <a:pt x="27787" y="2114"/>
                  </a:cubicBezTo>
                  <a:lnTo>
                    <a:pt x="21667" y="11082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883631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w/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924AF794-67D1-D540-9CAF-3BE5FF52E79F}"/>
              </a:ext>
            </a:extLst>
          </p:cNvPr>
          <p:cNvSpPr txBox="1">
            <a:spLocks/>
          </p:cNvSpPr>
          <p:nvPr userDrawn="1"/>
        </p:nvSpPr>
        <p:spPr>
          <a:xfrm>
            <a:off x="11656416" y="6555706"/>
            <a:ext cx="490353" cy="257388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Helvetica"/>
              </a:defRPr>
            </a:lvl1pPr>
            <a:lvl2pPr marL="0" marR="0" indent="34290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68580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02870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37160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71450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05740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240030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274320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accent6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/>
              <a:t>‹Nº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accent6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0427666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in one-line header_thin gradient">
    <p:bg>
      <p:bgPr>
        <a:solidFill>
          <a:srgbClr val="1F1F1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D667249-21E3-43D5-9373-68F8050A85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779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D667249-21E3-43D5-9373-68F8050A85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">
            <a:extLst>
              <a:ext uri="{FF2B5EF4-FFF2-40B4-BE49-F238E27FC236}">
                <a16:creationId xmlns:a16="http://schemas.microsoft.com/office/drawing/2014/main" id="{35A9A465-5C74-0449-9DAF-A3B351CDD0CB}"/>
              </a:ext>
            </a:extLst>
          </p:cNvPr>
          <p:cNvSpPr/>
          <p:nvPr userDrawn="1"/>
        </p:nvSpPr>
        <p:spPr>
          <a:xfrm rot="16200000">
            <a:off x="1708364" y="-524418"/>
            <a:ext cx="44550" cy="2758546"/>
          </a:xfrm>
          <a:prstGeom prst="rect">
            <a:avLst/>
          </a:prstGeom>
          <a:gradFill>
            <a:gsLst>
              <a:gs pos="0">
                <a:srgbClr val="007FFF"/>
              </a:gs>
              <a:gs pos="100000">
                <a:srgbClr val="21EA70"/>
              </a:gs>
            </a:gsLst>
            <a:lin ang="5400000"/>
          </a:gradFill>
          <a:ln w="12700">
            <a:miter lim="400000"/>
          </a:ln>
        </p:spPr>
        <p:txBody>
          <a:bodyPr lIns="60959" tIns="60959" rIns="60959" bIns="60959" anchor="ctr"/>
          <a:lstStyle/>
          <a:p>
            <a:pPr defTabSz="2438339">
              <a:defRPr sz="3000">
                <a:solidFill>
                  <a:srgbClr val="FFFFFF"/>
                </a:solidFill>
              </a:defRPr>
            </a:pPr>
            <a:endParaRPr sz="4000">
              <a:solidFill>
                <a:schemeClr val="tx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246C2F5-BB4C-124C-AAA0-412B4398F9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7208" y="1152028"/>
            <a:ext cx="11209644" cy="552451"/>
          </a:xfrm>
          <a:prstGeom prst="rect">
            <a:avLst/>
          </a:prstGeom>
        </p:spPr>
        <p:txBody>
          <a:bodyPr lIns="45720" tIns="9144" rIns="45720"/>
          <a:lstStyle>
            <a:lvl1pPr marL="0" indent="0">
              <a:buNone/>
              <a:defRPr sz="1900" b="1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57189" indent="0">
              <a:buNone/>
              <a:defRPr sz="1600" b="1" i="0">
                <a:latin typeface="Helvetica" pitchFamily="2" charset="0"/>
              </a:defRPr>
            </a:lvl2pPr>
            <a:lvl3pPr marL="914377" indent="0">
              <a:buNone/>
              <a:defRPr sz="1600" b="1" i="0">
                <a:latin typeface="Helvetica" pitchFamily="2" charset="0"/>
              </a:defRPr>
            </a:lvl3pPr>
            <a:lvl4pPr marL="1371566" indent="0">
              <a:buNone/>
              <a:defRPr sz="1600" b="1" i="0">
                <a:latin typeface="Helvetica" pitchFamily="2" charset="0"/>
              </a:defRPr>
            </a:lvl4pPr>
            <a:lvl5pPr marL="1828754" indent="0">
              <a:buNone/>
              <a:defRPr sz="1600" b="1" i="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20pt. max </a:t>
            </a:r>
            <a:r>
              <a:rPr lang="en-US" dirty="0" err="1"/>
              <a:t>subheadline</a:t>
            </a:r>
            <a:r>
              <a:rPr lang="en-US" dirty="0"/>
              <a:t> goes here and should only be around 12-15 words maximum on subject matter.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03050C24-45A1-B24A-B7D3-0586C8B8DB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17208" y="86915"/>
            <a:ext cx="11209644" cy="767940"/>
          </a:xfrm>
          <a:prstGeom prst="rect">
            <a:avLst/>
          </a:prstGeom>
        </p:spPr>
        <p:txBody>
          <a:bodyPr lIns="45720" tIns="9144" rIns="45720" bIns="45719" anchor="ctr"/>
          <a:lstStyle>
            <a:lvl1pPr algn="l">
              <a:defRPr sz="30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line / Title goes here, is max 32pt and min 24pt, and is</a:t>
            </a:r>
            <a:endParaRPr dirty="0"/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4475880A-D763-490A-A328-6BA1D2962A38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317208" y="2073122"/>
            <a:ext cx="11209645" cy="4162424"/>
          </a:xfrm>
          <a:prstGeom prst="rect">
            <a:avLst/>
          </a:prstGeom>
        </p:spPr>
        <p:txBody>
          <a:bodyPr lIns="45720" tIns="9144" rIns="45720"/>
          <a:lstStyle>
            <a:lvl1pPr marL="8466" indent="0">
              <a:lnSpc>
                <a:spcPct val="100000"/>
              </a:lnSpc>
              <a:spcBef>
                <a:spcPts val="1600"/>
              </a:spcBef>
              <a:buSzTx/>
              <a:buFontTx/>
              <a:buNone/>
              <a:tabLst/>
              <a:defRPr sz="18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  <a:sym typeface="Helvetica"/>
              </a:defRPr>
            </a:lvl1pPr>
            <a:lvl2pPr marL="365751" indent="-243833">
              <a:lnSpc>
                <a:spcPct val="100000"/>
              </a:lnSpc>
              <a:spcBef>
                <a:spcPts val="1600"/>
              </a:spcBef>
              <a:buClr>
                <a:srgbClr val="32E594"/>
              </a:buClr>
              <a:buFontTx/>
              <a:defRPr sz="16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  <a:sym typeface="Helvetica"/>
              </a:defRPr>
            </a:lvl2pPr>
            <a:lvl3pPr marL="731502" indent="-243833">
              <a:lnSpc>
                <a:spcPct val="100000"/>
              </a:lnSpc>
              <a:spcBef>
                <a:spcPts val="1600"/>
              </a:spcBef>
              <a:buClr>
                <a:srgbClr val="32E594"/>
              </a:buClr>
              <a:buFont typeface="Courier New" panose="02070309020205020404" pitchFamily="49" charset="0"/>
              <a:buChar char="o"/>
              <a:defRPr sz="1467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  <a:sym typeface="Helvetica"/>
              </a:defRPr>
            </a:lvl3pPr>
            <a:lvl4pPr marL="1097253" indent="-243834">
              <a:lnSpc>
                <a:spcPct val="100000"/>
              </a:lnSpc>
              <a:spcBef>
                <a:spcPts val="1600"/>
              </a:spcBef>
              <a:buClr>
                <a:srgbClr val="32E594"/>
              </a:buClr>
              <a:buFont typeface="Wingdings" pitchFamily="2" charset="2"/>
              <a:buChar char="§"/>
              <a:defRPr sz="1467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  <a:sym typeface="Helvetica"/>
              </a:defRPr>
            </a:lvl4pPr>
            <a:lvl5pPr marL="1463003" indent="-243834">
              <a:lnSpc>
                <a:spcPct val="100000"/>
              </a:lnSpc>
              <a:spcBef>
                <a:spcPts val="1600"/>
              </a:spcBef>
              <a:buClr>
                <a:srgbClr val="32E594"/>
              </a:buClr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  <a:sym typeface="Helvetica"/>
              </a:defRPr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262099911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otto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C8439308-9325-591D-730A-D074A640B85E}"/>
              </a:ext>
            </a:extLst>
          </p:cNvPr>
          <p:cNvSpPr txBox="1">
            <a:spLocks/>
          </p:cNvSpPr>
          <p:nvPr userDrawn="1"/>
        </p:nvSpPr>
        <p:spPr>
          <a:xfrm rot="5400000" flipV="1">
            <a:off x="7045906" y="1691010"/>
            <a:ext cx="6822002" cy="3478671"/>
          </a:xfrm>
          <a:prstGeom prst="rect">
            <a:avLst/>
          </a:prstGeom>
          <a:blipFill dpi="0" rotWithShape="1"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0" tIns="50800" rIns="0" bIns="508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None/>
              <a:tabLst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Arial" panose="020B0604020202020204" pitchFamily="34" charset="0"/>
              <a:buNone/>
              <a:tabLst/>
              <a:defRPr sz="100" b="1" kern="1200" cap="all" spc="10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None/>
              <a:tabLst/>
              <a:defRPr sz="100" b="1" kern="1200" cap="none" spc="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None/>
              <a:tabLst/>
              <a:defRPr sz="100" b="1" kern="1200">
                <a:noFill/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212725" algn="l"/>
              </a:tabLst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361950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212725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1950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212725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950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212725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1950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212725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1"/>
          </a:p>
        </p:txBody>
      </p:sp>
      <p:sp>
        <p:nvSpPr>
          <p:cNvPr id="16" name="Freeform 3">
            <a:extLst>
              <a:ext uri="{FF2B5EF4-FFF2-40B4-BE49-F238E27FC236}">
                <a16:creationId xmlns:a16="http://schemas.microsoft.com/office/drawing/2014/main" id="{3A1A5423-D8A3-1C5C-DDE4-B66E3607CC15}"/>
              </a:ext>
            </a:extLst>
          </p:cNvPr>
          <p:cNvSpPr/>
          <p:nvPr/>
        </p:nvSpPr>
        <p:spPr>
          <a:xfrm>
            <a:off x="0" y="-1"/>
            <a:ext cx="12185649" cy="4713106"/>
          </a:xfrm>
          <a:custGeom>
            <a:avLst/>
            <a:gdLst/>
            <a:ahLst/>
            <a:cxnLst/>
            <a:rect l="l" t="t" r="r" b="b"/>
            <a:pathLst>
              <a:path w="4816592" h="1196899">
                <a:moveTo>
                  <a:pt x="0" y="0"/>
                </a:moveTo>
                <a:lnTo>
                  <a:pt x="4816592" y="0"/>
                </a:lnTo>
                <a:lnTo>
                  <a:pt x="4816592" y="1196899"/>
                </a:lnTo>
                <a:lnTo>
                  <a:pt x="0" y="1196899"/>
                </a:lnTo>
                <a:close/>
              </a:path>
            </a:pathLst>
          </a:custGeom>
          <a:solidFill>
            <a:srgbClr val="000D23"/>
          </a:solidFill>
        </p:spPr>
        <p:txBody>
          <a:bodyPr/>
          <a:lstStyle/>
          <a:p>
            <a:endParaRPr lang="en-DE" sz="2000"/>
          </a:p>
        </p:txBody>
      </p:sp>
      <p:pic>
        <p:nvPicPr>
          <p:cNvPr id="28" name="Picture 27" descr="A close-up of a white surface&#10;&#10;Description automatically generated">
            <a:extLst>
              <a:ext uri="{FF2B5EF4-FFF2-40B4-BE49-F238E27FC236}">
                <a16:creationId xmlns:a16="http://schemas.microsoft.com/office/drawing/2014/main" id="{97D86D06-4BC4-729F-99C3-FDBF605CF8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 amt="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0"/>
            <a:ext cx="12192000" cy="4672991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6758DB97-3595-5873-9341-7AF1512D800D}"/>
              </a:ext>
            </a:extLst>
          </p:cNvPr>
          <p:cNvGrpSpPr/>
          <p:nvPr userDrawn="1"/>
        </p:nvGrpSpPr>
        <p:grpSpPr>
          <a:xfrm>
            <a:off x="-210992" y="-269571"/>
            <a:ext cx="12607636" cy="7378396"/>
            <a:chOff x="-207818" y="-269571"/>
            <a:chExt cx="12607636" cy="7378396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F432B85A-F099-E33A-F0BA-30AA6EFC8084}"/>
                </a:ext>
              </a:extLst>
            </p:cNvPr>
            <p:cNvGrpSpPr/>
            <p:nvPr userDrawn="1"/>
          </p:nvGrpSpPr>
          <p:grpSpPr>
            <a:xfrm>
              <a:off x="12192000" y="333375"/>
              <a:ext cx="207818" cy="6193290"/>
              <a:chOff x="12192000" y="333375"/>
              <a:chExt cx="352926" cy="6193290"/>
            </a:xfrm>
          </p:grpSpPr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F083EBB1-2007-553D-FA14-164573B2F8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3337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840DA08C-8098-1D55-DB37-D0013BEE5A4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97103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9FEC9D58-99D5-CFAA-7C1A-13C33FDA858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5208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9B2DD6AC-5104-FBDF-BC35-5EA03A3E73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2738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79DF0442-CA8F-EF35-62F6-249335CEFAF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52666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AC92B7C0-27B8-40B8-E603-A5DFCF1B31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5842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AFFC11CC-F777-DF65-3ABE-541D084473E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89899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6B63AEEC-F484-3C56-B194-3B145800E06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019103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C9772E65-2471-66A8-DA0F-DEBC8E5038AF}"/>
                </a:ext>
              </a:extLst>
            </p:cNvPr>
            <p:cNvGrpSpPr/>
            <p:nvPr userDrawn="1"/>
          </p:nvGrpSpPr>
          <p:grpSpPr>
            <a:xfrm>
              <a:off x="334963" y="6858000"/>
              <a:ext cx="11534775" cy="250825"/>
              <a:chOff x="334963" y="6858000"/>
              <a:chExt cx="11534775" cy="250825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61803D7A-EC4D-4B65-34C0-F66E700875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334963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F9FF5125-AECB-6EC0-4785-729A716CC9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6097409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635E8597-DA24-569B-7E8D-0AE69C0C5B3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11869738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CCE3A0B8-7482-F629-C108-8E9F0539A4F8}"/>
                </a:ext>
              </a:extLst>
            </p:cNvPr>
            <p:cNvGrpSpPr/>
            <p:nvPr userDrawn="1"/>
          </p:nvGrpSpPr>
          <p:grpSpPr>
            <a:xfrm>
              <a:off x="-207818" y="332015"/>
              <a:ext cx="207818" cy="6194650"/>
              <a:chOff x="12192000" y="333375"/>
              <a:chExt cx="352926" cy="6194650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9F4562DE-98D6-4105-A746-957313AD9F9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3337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3BA2FA91-1D09-4040-6636-C53C9ADEB0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97103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C462B7E4-6CD7-3595-D010-5BF93C3C76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5208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E3BF8171-0378-97A7-FD48-44AED36A9E7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27516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C15E5D2-4591-ED9F-1859-73E4282713F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5280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FA4EDA72-4A81-ED74-6A58-3FB188D74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5842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0F0028E7-20CA-9AC0-9D0A-A0C6C68C0E3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89899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CC4977AE-FC66-2BC4-91CC-DD3466F3E96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771678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FCECFF9C-0426-8443-E2E3-8A1AC82ACF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028088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D8FC36-4D89-C54A-F069-2FF0181C6F0A}"/>
                </a:ext>
              </a:extLst>
            </p:cNvPr>
            <p:cNvGrpSpPr/>
            <p:nvPr userDrawn="1"/>
          </p:nvGrpSpPr>
          <p:grpSpPr>
            <a:xfrm>
              <a:off x="334963" y="-269571"/>
              <a:ext cx="11534775" cy="250825"/>
              <a:chOff x="334963" y="-269571"/>
              <a:chExt cx="11534775" cy="250825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22B2CF68-9D95-67A3-218F-58418FE15F9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334963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7A95221B-5148-AD42-1340-B23ED95E1D7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6097409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53AB74B9-9871-8AB7-B9BC-155824AC47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11869738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" name="TextBox 4">
            <a:extLst>
              <a:ext uri="{FF2B5EF4-FFF2-40B4-BE49-F238E27FC236}">
                <a16:creationId xmlns:a16="http://schemas.microsoft.com/office/drawing/2014/main" id="{1C060930-424A-F0ED-B143-A8CA9383B658}"/>
              </a:ext>
            </a:extLst>
          </p:cNvPr>
          <p:cNvSpPr txBox="1"/>
          <p:nvPr/>
        </p:nvSpPr>
        <p:spPr>
          <a:xfrm>
            <a:off x="0" y="-97645"/>
            <a:ext cx="12344358" cy="3165156"/>
          </a:xfrm>
          <a:prstGeom prst="rect">
            <a:avLst/>
          </a:prstGeom>
        </p:spPr>
        <p:txBody>
          <a:bodyPr lIns="56444" tIns="56444" rIns="56444" bIns="56444" rtlCol="0" anchor="ctr"/>
          <a:lstStyle/>
          <a:p>
            <a:pPr algn="ctr">
              <a:lnSpc>
                <a:spcPts val="2954"/>
              </a:lnSpc>
              <a:spcBef>
                <a:spcPct val="0"/>
              </a:spcBef>
            </a:pPr>
            <a:endParaRPr sz="2000"/>
          </a:p>
        </p:txBody>
      </p:sp>
      <p:grpSp>
        <p:nvGrpSpPr>
          <p:cNvPr id="18" name="Group 9">
            <a:extLst>
              <a:ext uri="{FF2B5EF4-FFF2-40B4-BE49-F238E27FC236}">
                <a16:creationId xmlns:a16="http://schemas.microsoft.com/office/drawing/2014/main" id="{FB8B8C0E-45EE-965C-E7C5-61056184A072}"/>
              </a:ext>
            </a:extLst>
          </p:cNvPr>
          <p:cNvGrpSpPr/>
          <p:nvPr userDrawn="1"/>
        </p:nvGrpSpPr>
        <p:grpSpPr>
          <a:xfrm>
            <a:off x="0" y="2774972"/>
            <a:ext cx="4193651" cy="4100239"/>
            <a:chOff x="0" y="-38100"/>
            <a:chExt cx="1636303" cy="1599854"/>
          </a:xfrm>
        </p:grpSpPr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B9E42105-2CB1-B0DC-126A-4CC8CE9E668A}"/>
                </a:ext>
              </a:extLst>
            </p:cNvPr>
            <p:cNvSpPr/>
            <p:nvPr/>
          </p:nvSpPr>
          <p:spPr>
            <a:xfrm>
              <a:off x="0" y="1485709"/>
              <a:ext cx="1636303" cy="76045"/>
            </a:xfrm>
            <a:custGeom>
              <a:avLst/>
              <a:gdLst/>
              <a:ahLst/>
              <a:cxnLst/>
              <a:rect l="l" t="t" r="r" b="b"/>
              <a:pathLst>
                <a:path w="1636303" h="76045">
                  <a:moveTo>
                    <a:pt x="0" y="0"/>
                  </a:moveTo>
                  <a:lnTo>
                    <a:pt x="1636303" y="0"/>
                  </a:lnTo>
                  <a:lnTo>
                    <a:pt x="1636303" y="76045"/>
                  </a:lnTo>
                  <a:lnTo>
                    <a:pt x="0" y="76045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29000">
                  <a:schemeClr val="accent3"/>
                </a:gs>
                <a:gs pos="67000">
                  <a:schemeClr val="accent4"/>
                </a:gs>
                <a:gs pos="99000">
                  <a:schemeClr val="accent5"/>
                </a:gs>
              </a:gsLst>
              <a:lin ang="0" scaled="1"/>
            </a:gradFill>
          </p:spPr>
          <p:txBody>
            <a:bodyPr/>
            <a:lstStyle/>
            <a:p>
              <a:endParaRPr lang="en-DE" sz="2000"/>
            </a:p>
          </p:txBody>
        </p:sp>
        <p:sp>
          <p:nvSpPr>
            <p:cNvPr id="20" name="TextBox 11">
              <a:extLst>
                <a:ext uri="{FF2B5EF4-FFF2-40B4-BE49-F238E27FC236}">
                  <a16:creationId xmlns:a16="http://schemas.microsoft.com/office/drawing/2014/main" id="{F06762D5-48FA-B2D9-1D10-C72E55E57947}"/>
                </a:ext>
              </a:extLst>
            </p:cNvPr>
            <p:cNvSpPr txBox="1"/>
            <p:nvPr/>
          </p:nvSpPr>
          <p:spPr>
            <a:xfrm>
              <a:off x="0" y="-38100"/>
              <a:ext cx="1636303" cy="11414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954"/>
                </a:lnSpc>
                <a:spcBef>
                  <a:spcPct val="0"/>
                </a:spcBef>
              </a:pPr>
              <a:endParaRPr sz="2000"/>
            </a:p>
          </p:txBody>
        </p:sp>
      </p:grp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93DF64E-AC3C-276C-5F17-56F17A2F0C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68677" y="4987682"/>
            <a:ext cx="11039589" cy="1444683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>
            <a:lvl1pPr>
              <a:defRPr sz="5333" b="0"/>
            </a:lvl1pPr>
          </a:lstStyle>
          <a:p>
            <a:r>
              <a:rPr lang="en-US"/>
              <a:t>Title Bott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F98040-5703-C331-C7A2-C2DA3BEBCC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8632" y="6541401"/>
            <a:ext cx="348404" cy="316601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BAFA70EE-EF21-5645-B7EF-DF5EA44B88C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ED20F7-FE72-AB74-78ED-D1224CA41FF1}"/>
              </a:ext>
            </a:extLst>
          </p:cNvPr>
          <p:cNvSpPr/>
          <p:nvPr userDrawn="1"/>
        </p:nvSpPr>
        <p:spPr>
          <a:xfrm>
            <a:off x="4361295" y="6541400"/>
            <a:ext cx="4356276" cy="27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defTabSz="121915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© 2025 J.D. Power. All Rights Reserved. CONFIDENTIAL &amp; PROPRIETARY</a:t>
            </a:r>
          </a:p>
        </p:txBody>
      </p:sp>
      <p:sp>
        <p:nvSpPr>
          <p:cNvPr id="27" name="Content Placeholder 8">
            <a:extLst>
              <a:ext uri="{FF2B5EF4-FFF2-40B4-BE49-F238E27FC236}">
                <a16:creationId xmlns:a16="http://schemas.microsoft.com/office/drawing/2014/main" id="{EFDF8C4E-1991-7EA8-5943-B74225062E0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77387" y="582840"/>
            <a:ext cx="11039589" cy="3763382"/>
          </a:xfrm>
          <a:noFill/>
          <a:ln w="12700">
            <a:noFill/>
          </a:ln>
        </p:spPr>
        <p:txBody>
          <a:bodyPr lIns="72000" rIns="7200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AFAFD02-CBB1-26A7-86DB-EB430CB5E2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8732" y="6587079"/>
            <a:ext cx="1276182" cy="152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801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SI24_1">
    <p:bg>
      <p:bgPr>
        <a:solidFill>
          <a:srgbClr val="000D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-up of a white surface&#10;&#10;Description automatically generated">
            <a:extLst>
              <a:ext uri="{FF2B5EF4-FFF2-40B4-BE49-F238E27FC236}">
                <a16:creationId xmlns:a16="http://schemas.microsoft.com/office/drawing/2014/main" id="{8CC362A6-142D-3B1A-5103-E7819818BC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"/>
          <a:stretch/>
        </p:blipFill>
        <p:spPr>
          <a:xfrm>
            <a:off x="-3175" y="-14800"/>
            <a:ext cx="12192000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56A62-585C-CBCB-0BF9-E4001609F5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DA503A-70FB-754D-8484-DD210D1C395F}" type="datetime1">
              <a:rPr lang="en-CA" smtClean="0"/>
              <a:t>2025-10-21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7D6486D-7AF0-CF34-2C1B-7578B5ABEB38}"/>
              </a:ext>
            </a:extLst>
          </p:cNvPr>
          <p:cNvGrpSpPr/>
          <p:nvPr userDrawn="1"/>
        </p:nvGrpSpPr>
        <p:grpSpPr>
          <a:xfrm>
            <a:off x="334963" y="461530"/>
            <a:ext cx="11857037" cy="5639377"/>
            <a:chOff x="692727" y="461530"/>
            <a:chExt cx="11499273" cy="5639377"/>
          </a:xfrm>
        </p:grpSpPr>
        <p:cxnSp>
          <p:nvCxnSpPr>
            <p:cNvPr id="8" name="Elbow Connector 7">
              <a:extLst>
                <a:ext uri="{FF2B5EF4-FFF2-40B4-BE49-F238E27FC236}">
                  <a16:creationId xmlns:a16="http://schemas.microsoft.com/office/drawing/2014/main" id="{A58222CB-F433-5B98-5549-DB48290DA6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2727" y="461530"/>
              <a:ext cx="11499273" cy="1187450"/>
            </a:xfrm>
            <a:prstGeom prst="bentConnector3">
              <a:avLst>
                <a:gd name="adj1" fmla="val -14"/>
              </a:avLst>
            </a:prstGeom>
            <a:ln w="508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accent5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Elbow Connector 8">
              <a:extLst>
                <a:ext uri="{FF2B5EF4-FFF2-40B4-BE49-F238E27FC236}">
                  <a16:creationId xmlns:a16="http://schemas.microsoft.com/office/drawing/2014/main" id="{6E5E7D08-7A50-7F3A-A802-6548321877F2}"/>
                </a:ext>
              </a:extLst>
            </p:cNvPr>
            <p:cNvCxnSpPr>
              <a:cxnSpLocks/>
            </p:cNvCxnSpPr>
            <p:nvPr/>
          </p:nvCxnSpPr>
          <p:spPr>
            <a:xfrm>
              <a:off x="692727" y="4913457"/>
              <a:ext cx="11499273" cy="1187450"/>
            </a:xfrm>
            <a:prstGeom prst="bentConnector3">
              <a:avLst>
                <a:gd name="adj1" fmla="val -4"/>
              </a:avLst>
            </a:prstGeom>
            <a:ln w="508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accent5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4BD942D8-7DBD-E2D1-1A2A-0C79F59FEB0A}"/>
              </a:ext>
            </a:extLst>
          </p:cNvPr>
          <p:cNvSpPr/>
          <p:nvPr userDrawn="1"/>
        </p:nvSpPr>
        <p:spPr>
          <a:xfrm>
            <a:off x="355145" y="6541399"/>
            <a:ext cx="4356275" cy="27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0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© 2025 J.D. Power. All Rights Reserved. CONFIDENTIAL &amp; PROPRIETARY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0E1A032-090A-DEC3-562A-EE3CFC99E13C}"/>
              </a:ext>
            </a:extLst>
          </p:cNvPr>
          <p:cNvGrpSpPr/>
          <p:nvPr userDrawn="1"/>
        </p:nvGrpSpPr>
        <p:grpSpPr>
          <a:xfrm>
            <a:off x="-210993" y="-269571"/>
            <a:ext cx="12607636" cy="7378396"/>
            <a:chOff x="-207818" y="-269571"/>
            <a:chExt cx="12607636" cy="7378396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0306D304-AF62-6684-8FFF-0591DE882FEC}"/>
                </a:ext>
              </a:extLst>
            </p:cNvPr>
            <p:cNvGrpSpPr/>
            <p:nvPr userDrawn="1"/>
          </p:nvGrpSpPr>
          <p:grpSpPr>
            <a:xfrm>
              <a:off x="12192000" y="333375"/>
              <a:ext cx="207818" cy="6193290"/>
              <a:chOff x="12192000" y="333375"/>
              <a:chExt cx="352926" cy="6193290"/>
            </a:xfrm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7201BBC3-F11D-B4F0-2353-4B18D21B3F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3337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E2623D81-EEE1-7117-66DF-87D32CE76C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97103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43CD36B3-E003-04CF-71B6-89F7DB9BF2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5208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02FD49C-B7D1-8A95-8D9E-BF5168A19ED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2738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095F7B7-66D1-4CD4-6703-14A6C18F4E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52666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B58A1274-174B-5456-BD78-24D076785C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5842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ECB1D12C-1B04-99F5-1F8C-AFCD2287D4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89899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F5D23D80-6E94-06AB-8510-1E88853FEF0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019103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E6E04440-10AB-164E-A438-1A19EB06F84F}"/>
                </a:ext>
              </a:extLst>
            </p:cNvPr>
            <p:cNvGrpSpPr/>
            <p:nvPr userDrawn="1"/>
          </p:nvGrpSpPr>
          <p:grpSpPr>
            <a:xfrm>
              <a:off x="334963" y="6858000"/>
              <a:ext cx="11534775" cy="250825"/>
              <a:chOff x="334963" y="6858000"/>
              <a:chExt cx="11534775" cy="250825"/>
            </a:xfrm>
          </p:grpSpPr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7EAC046-88EC-FE45-57AD-CD797A2BF99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334963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7E612027-2517-AC85-A720-E3F44E572A0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6097409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C0FB9012-F2E3-3967-6CB7-F9B39A4FCD0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11869738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2B623BD-6BED-2D91-8D2E-8583C2FC0809}"/>
                </a:ext>
              </a:extLst>
            </p:cNvPr>
            <p:cNvGrpSpPr/>
            <p:nvPr userDrawn="1"/>
          </p:nvGrpSpPr>
          <p:grpSpPr>
            <a:xfrm>
              <a:off x="-207818" y="332015"/>
              <a:ext cx="207818" cy="6194650"/>
              <a:chOff x="12192000" y="333375"/>
              <a:chExt cx="352926" cy="6194650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1E97774A-D963-3441-20D0-A57FC73F540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3337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8F598BA-02F4-1B17-FAAA-62C0EC6BEF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97103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C3963E3C-263B-A210-6A90-D4FEA168DCB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5208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344804CC-57A9-1E1E-BA9A-31D66AE431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27516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0767D48-9F22-F00F-9C2D-DF9A4D1F08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5280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4777B3AD-901B-C22F-E1D9-E48CBC2C116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5842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A00F26A7-E3CB-F649-1232-39ABA3524C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89899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948EA440-736D-F3E9-2D7F-AF42FC3A7F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771678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1EBE8285-309C-8C34-85BB-C57EABF6316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028088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D2DA82F6-B86A-F96D-4A6E-5293E65A34AB}"/>
                </a:ext>
              </a:extLst>
            </p:cNvPr>
            <p:cNvGrpSpPr/>
            <p:nvPr userDrawn="1"/>
          </p:nvGrpSpPr>
          <p:grpSpPr>
            <a:xfrm>
              <a:off x="334963" y="-269571"/>
              <a:ext cx="11534775" cy="250825"/>
              <a:chOff x="334963" y="-269571"/>
              <a:chExt cx="11534775" cy="250825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06073D7-AAF6-AD28-8661-ECAAEE0A419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334963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A99DD13D-9483-D473-0B87-E53DB9D7756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6097409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80E52605-7EBD-B6F4-8F97-4A880F8359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11869738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58CA5BF-D837-B88A-4C95-5EA5A33ED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8632" y="6541399"/>
            <a:ext cx="348404" cy="316601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BAFA70EE-EF21-5645-B7EF-DF5EA44B88C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98E9406-2642-913C-E0CB-2062FD7DD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6273800"/>
            <a:ext cx="11522073" cy="2508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s-ES"/>
              <a:t>Estudio del Índice de Satisfacción de Ventas de México 2024 (SSI)</a:t>
            </a:r>
            <a:r>
              <a:rPr lang="es-ES" baseline="30000"/>
              <a:t>SM</a:t>
            </a:r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4F65B2D-1D69-72BF-5B96-1DB5B8ED95AF}"/>
              </a:ext>
            </a:extLst>
          </p:cNvPr>
          <p:cNvGrpSpPr/>
          <p:nvPr userDrawn="1"/>
        </p:nvGrpSpPr>
        <p:grpSpPr>
          <a:xfrm>
            <a:off x="10196953" y="6633275"/>
            <a:ext cx="1253882" cy="133137"/>
            <a:chOff x="10196953" y="6633275"/>
            <a:chExt cx="1253882" cy="133137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2717146-C509-71CC-C0E4-57B13D047C69}"/>
                </a:ext>
              </a:extLst>
            </p:cNvPr>
            <p:cNvSpPr/>
            <p:nvPr/>
          </p:nvSpPr>
          <p:spPr>
            <a:xfrm>
              <a:off x="10196953" y="6634810"/>
              <a:ext cx="83366" cy="131596"/>
            </a:xfrm>
            <a:custGeom>
              <a:avLst/>
              <a:gdLst>
                <a:gd name="connsiteX0" fmla="*/ 25540 w 83366"/>
                <a:gd name="connsiteY0" fmla="*/ 95828 h 131596"/>
                <a:gd name="connsiteX1" fmla="*/ 42060 w 83366"/>
                <a:gd name="connsiteY1" fmla="*/ 110175 h 131596"/>
                <a:gd name="connsiteX2" fmla="*/ 57436 w 83366"/>
                <a:gd name="connsiteY2" fmla="*/ 95828 h 131596"/>
                <a:gd name="connsiteX3" fmla="*/ 57436 w 83366"/>
                <a:gd name="connsiteY3" fmla="*/ 4971 h 131596"/>
                <a:gd name="connsiteX4" fmla="*/ 62043 w 83366"/>
                <a:gd name="connsiteY4" fmla="*/ 0 h 131596"/>
                <a:gd name="connsiteX5" fmla="*/ 78754 w 83366"/>
                <a:gd name="connsiteY5" fmla="*/ 0 h 131596"/>
                <a:gd name="connsiteX6" fmla="*/ 83367 w 83366"/>
                <a:gd name="connsiteY6" fmla="*/ 4971 h 131596"/>
                <a:gd name="connsiteX7" fmla="*/ 83367 w 83366"/>
                <a:gd name="connsiteY7" fmla="*/ 100415 h 131596"/>
                <a:gd name="connsiteX8" fmla="*/ 42054 w 83366"/>
                <a:gd name="connsiteY8" fmla="*/ 131596 h 131596"/>
                <a:gd name="connsiteX9" fmla="*/ 0 w 83366"/>
                <a:gd name="connsiteY9" fmla="*/ 100415 h 131596"/>
                <a:gd name="connsiteX10" fmla="*/ 0 w 83366"/>
                <a:gd name="connsiteY10" fmla="*/ 88937 h 131596"/>
                <a:gd name="connsiteX11" fmla="*/ 4791 w 83366"/>
                <a:gd name="connsiteY11" fmla="*/ 84155 h 131596"/>
                <a:gd name="connsiteX12" fmla="*/ 20938 w 83366"/>
                <a:gd name="connsiteY12" fmla="*/ 84155 h 131596"/>
                <a:gd name="connsiteX13" fmla="*/ 25540 w 83366"/>
                <a:gd name="connsiteY13" fmla="*/ 88937 h 131596"/>
                <a:gd name="connsiteX14" fmla="*/ 25540 w 83366"/>
                <a:gd name="connsiteY14" fmla="*/ 95828 h 13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3366" h="131596">
                  <a:moveTo>
                    <a:pt x="25540" y="95828"/>
                  </a:moveTo>
                  <a:cubicBezTo>
                    <a:pt x="25540" y="105387"/>
                    <a:pt x="30740" y="110175"/>
                    <a:pt x="42060" y="110175"/>
                  </a:cubicBezTo>
                  <a:cubicBezTo>
                    <a:pt x="53380" y="110175"/>
                    <a:pt x="57436" y="105387"/>
                    <a:pt x="57436" y="95828"/>
                  </a:cubicBezTo>
                  <a:lnTo>
                    <a:pt x="57436" y="4971"/>
                  </a:lnTo>
                  <a:cubicBezTo>
                    <a:pt x="57436" y="1523"/>
                    <a:pt x="58776" y="0"/>
                    <a:pt x="62043" y="0"/>
                  </a:cubicBezTo>
                  <a:lnTo>
                    <a:pt x="78754" y="0"/>
                  </a:lnTo>
                  <a:cubicBezTo>
                    <a:pt x="82211" y="0"/>
                    <a:pt x="83367" y="1523"/>
                    <a:pt x="83367" y="4971"/>
                  </a:cubicBezTo>
                  <a:lnTo>
                    <a:pt x="83367" y="100415"/>
                  </a:lnTo>
                  <a:cubicBezTo>
                    <a:pt x="83367" y="116487"/>
                    <a:pt x="74532" y="131596"/>
                    <a:pt x="42054" y="131596"/>
                  </a:cubicBezTo>
                  <a:cubicBezTo>
                    <a:pt x="9577" y="131596"/>
                    <a:pt x="0" y="116493"/>
                    <a:pt x="0" y="100415"/>
                  </a:cubicBezTo>
                  <a:lnTo>
                    <a:pt x="0" y="88937"/>
                  </a:lnTo>
                  <a:cubicBezTo>
                    <a:pt x="0" y="85489"/>
                    <a:pt x="1334" y="84155"/>
                    <a:pt x="4791" y="84155"/>
                  </a:cubicBezTo>
                  <a:lnTo>
                    <a:pt x="20938" y="84155"/>
                  </a:lnTo>
                  <a:cubicBezTo>
                    <a:pt x="24395" y="84155"/>
                    <a:pt x="25540" y="85489"/>
                    <a:pt x="25540" y="88937"/>
                  </a:cubicBezTo>
                  <a:lnTo>
                    <a:pt x="25540" y="95828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B30937E-8322-49E7-E2AD-AC121ABC1964}"/>
                </a:ext>
              </a:extLst>
            </p:cNvPr>
            <p:cNvSpPr/>
            <p:nvPr/>
          </p:nvSpPr>
          <p:spPr>
            <a:xfrm>
              <a:off x="10290513" y="6739825"/>
              <a:ext cx="25741" cy="25058"/>
            </a:xfrm>
            <a:custGeom>
              <a:avLst/>
              <a:gdLst>
                <a:gd name="connsiteX0" fmla="*/ 25741 w 25741"/>
                <a:gd name="connsiteY0" fmla="*/ 20270 h 25058"/>
                <a:gd name="connsiteX1" fmla="*/ 21140 w 25741"/>
                <a:gd name="connsiteY1" fmla="*/ 25058 h 25058"/>
                <a:gd name="connsiteX2" fmla="*/ 4809 w 25741"/>
                <a:gd name="connsiteY2" fmla="*/ 25058 h 25058"/>
                <a:gd name="connsiteX3" fmla="*/ 0 w 25741"/>
                <a:gd name="connsiteY3" fmla="*/ 20270 h 25058"/>
                <a:gd name="connsiteX4" fmla="*/ 0 w 25741"/>
                <a:gd name="connsiteY4" fmla="*/ 4783 h 25058"/>
                <a:gd name="connsiteX5" fmla="*/ 4809 w 25741"/>
                <a:gd name="connsiteY5" fmla="*/ 0 h 25058"/>
                <a:gd name="connsiteX6" fmla="*/ 21140 w 25741"/>
                <a:gd name="connsiteY6" fmla="*/ 0 h 25058"/>
                <a:gd name="connsiteX7" fmla="*/ 25741 w 25741"/>
                <a:gd name="connsiteY7" fmla="*/ 4783 h 25058"/>
                <a:gd name="connsiteX8" fmla="*/ 25741 w 25741"/>
                <a:gd name="connsiteY8" fmla="*/ 20270 h 2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41" h="25058">
                  <a:moveTo>
                    <a:pt x="25741" y="20270"/>
                  </a:moveTo>
                  <a:cubicBezTo>
                    <a:pt x="25741" y="23712"/>
                    <a:pt x="24597" y="25058"/>
                    <a:pt x="21140" y="25058"/>
                  </a:cubicBezTo>
                  <a:lnTo>
                    <a:pt x="4809" y="25058"/>
                  </a:lnTo>
                  <a:cubicBezTo>
                    <a:pt x="1352" y="25058"/>
                    <a:pt x="0" y="23712"/>
                    <a:pt x="0" y="20270"/>
                  </a:cubicBezTo>
                  <a:lnTo>
                    <a:pt x="0" y="4783"/>
                  </a:lnTo>
                  <a:cubicBezTo>
                    <a:pt x="0" y="1346"/>
                    <a:pt x="1352" y="0"/>
                    <a:pt x="4809" y="0"/>
                  </a:cubicBezTo>
                  <a:lnTo>
                    <a:pt x="21140" y="0"/>
                  </a:lnTo>
                  <a:cubicBezTo>
                    <a:pt x="24597" y="0"/>
                    <a:pt x="25741" y="1346"/>
                    <a:pt x="25741" y="4783"/>
                  </a:cubicBezTo>
                  <a:lnTo>
                    <a:pt x="25741" y="20270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BFF4B15C-6DA9-B427-E075-8A631EB36880}"/>
                </a:ext>
              </a:extLst>
            </p:cNvPr>
            <p:cNvSpPr/>
            <p:nvPr/>
          </p:nvSpPr>
          <p:spPr>
            <a:xfrm>
              <a:off x="10343721" y="6634810"/>
              <a:ext cx="93364" cy="130067"/>
            </a:xfrm>
            <a:custGeom>
              <a:avLst/>
              <a:gdLst>
                <a:gd name="connsiteX0" fmla="*/ 4044 w 93364"/>
                <a:gd name="connsiteY0" fmla="*/ 130067 h 130067"/>
                <a:gd name="connsiteX1" fmla="*/ 0 w 93364"/>
                <a:gd name="connsiteY1" fmla="*/ 125101 h 130067"/>
                <a:gd name="connsiteX2" fmla="*/ 0 w 93364"/>
                <a:gd name="connsiteY2" fmla="*/ 4971 h 130067"/>
                <a:gd name="connsiteX3" fmla="*/ 4619 w 93364"/>
                <a:gd name="connsiteY3" fmla="*/ 0 h 130067"/>
                <a:gd name="connsiteX4" fmla="*/ 46495 w 93364"/>
                <a:gd name="connsiteY4" fmla="*/ 0 h 130067"/>
                <a:gd name="connsiteX5" fmla="*/ 93365 w 93364"/>
                <a:gd name="connsiteY5" fmla="*/ 31175 h 130067"/>
                <a:gd name="connsiteX6" fmla="*/ 93365 w 93364"/>
                <a:gd name="connsiteY6" fmla="*/ 98892 h 130067"/>
                <a:gd name="connsiteX7" fmla="*/ 46495 w 93364"/>
                <a:gd name="connsiteY7" fmla="*/ 130067 h 130067"/>
                <a:gd name="connsiteX8" fmla="*/ 4044 w 93364"/>
                <a:gd name="connsiteY8" fmla="*/ 130067 h 130067"/>
                <a:gd name="connsiteX9" fmla="*/ 25943 w 93364"/>
                <a:gd name="connsiteY9" fmla="*/ 21415 h 130067"/>
                <a:gd name="connsiteX10" fmla="*/ 25943 w 93364"/>
                <a:gd name="connsiteY10" fmla="*/ 108646 h 130067"/>
                <a:gd name="connsiteX11" fmla="*/ 46495 w 93364"/>
                <a:gd name="connsiteY11" fmla="*/ 108646 h 130067"/>
                <a:gd name="connsiteX12" fmla="*/ 67439 w 93364"/>
                <a:gd name="connsiteY12" fmla="*/ 94293 h 130067"/>
                <a:gd name="connsiteX13" fmla="*/ 67439 w 93364"/>
                <a:gd name="connsiteY13" fmla="*/ 35769 h 130067"/>
                <a:gd name="connsiteX14" fmla="*/ 46495 w 93364"/>
                <a:gd name="connsiteY14" fmla="*/ 21415 h 130067"/>
                <a:gd name="connsiteX15" fmla="*/ 25943 w 93364"/>
                <a:gd name="connsiteY15" fmla="*/ 21415 h 13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3364" h="130067">
                  <a:moveTo>
                    <a:pt x="4044" y="130067"/>
                  </a:moveTo>
                  <a:cubicBezTo>
                    <a:pt x="967" y="130067"/>
                    <a:pt x="0" y="128355"/>
                    <a:pt x="0" y="125101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19" y="0"/>
                  </a:cubicBezTo>
                  <a:lnTo>
                    <a:pt x="46495" y="0"/>
                  </a:lnTo>
                  <a:cubicBezTo>
                    <a:pt x="81268" y="0"/>
                    <a:pt x="93365" y="15109"/>
                    <a:pt x="93365" y="31175"/>
                  </a:cubicBezTo>
                  <a:lnTo>
                    <a:pt x="93365" y="98892"/>
                  </a:lnTo>
                  <a:cubicBezTo>
                    <a:pt x="93365" y="114958"/>
                    <a:pt x="81262" y="130067"/>
                    <a:pt x="46495" y="130067"/>
                  </a:cubicBezTo>
                  <a:lnTo>
                    <a:pt x="4044" y="130067"/>
                  </a:lnTo>
                  <a:close/>
                  <a:moveTo>
                    <a:pt x="25943" y="21415"/>
                  </a:moveTo>
                  <a:lnTo>
                    <a:pt x="25943" y="108646"/>
                  </a:lnTo>
                  <a:lnTo>
                    <a:pt x="46495" y="108646"/>
                  </a:lnTo>
                  <a:cubicBezTo>
                    <a:pt x="59565" y="108646"/>
                    <a:pt x="67439" y="103858"/>
                    <a:pt x="67439" y="94293"/>
                  </a:cubicBezTo>
                  <a:lnTo>
                    <a:pt x="67439" y="35769"/>
                  </a:lnTo>
                  <a:cubicBezTo>
                    <a:pt x="67439" y="26204"/>
                    <a:pt x="59565" y="21415"/>
                    <a:pt x="46495" y="21415"/>
                  </a:cubicBezTo>
                  <a:lnTo>
                    <a:pt x="25943" y="21415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C1F7EBF-F7EE-F5FE-09B6-2F708BACBC7B}"/>
                </a:ext>
              </a:extLst>
            </p:cNvPr>
            <p:cNvSpPr/>
            <p:nvPr/>
          </p:nvSpPr>
          <p:spPr>
            <a:xfrm>
              <a:off x="10446122" y="6739825"/>
              <a:ext cx="25747" cy="25058"/>
            </a:xfrm>
            <a:custGeom>
              <a:avLst/>
              <a:gdLst>
                <a:gd name="connsiteX0" fmla="*/ 25747 w 25747"/>
                <a:gd name="connsiteY0" fmla="*/ 20270 h 25058"/>
                <a:gd name="connsiteX1" fmla="*/ 21134 w 25747"/>
                <a:gd name="connsiteY1" fmla="*/ 25058 h 25058"/>
                <a:gd name="connsiteX2" fmla="*/ 4803 w 25747"/>
                <a:gd name="connsiteY2" fmla="*/ 25058 h 25058"/>
                <a:gd name="connsiteX3" fmla="*/ 0 w 25747"/>
                <a:gd name="connsiteY3" fmla="*/ 20270 h 25058"/>
                <a:gd name="connsiteX4" fmla="*/ 0 w 25747"/>
                <a:gd name="connsiteY4" fmla="*/ 4783 h 25058"/>
                <a:gd name="connsiteX5" fmla="*/ 4803 w 25747"/>
                <a:gd name="connsiteY5" fmla="*/ 0 h 25058"/>
                <a:gd name="connsiteX6" fmla="*/ 21134 w 25747"/>
                <a:gd name="connsiteY6" fmla="*/ 0 h 25058"/>
                <a:gd name="connsiteX7" fmla="*/ 25747 w 25747"/>
                <a:gd name="connsiteY7" fmla="*/ 4783 h 25058"/>
                <a:gd name="connsiteX8" fmla="*/ 25747 w 25747"/>
                <a:gd name="connsiteY8" fmla="*/ 20270 h 2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47" h="25058">
                  <a:moveTo>
                    <a:pt x="25747" y="20270"/>
                  </a:moveTo>
                  <a:cubicBezTo>
                    <a:pt x="25747" y="23712"/>
                    <a:pt x="24597" y="25058"/>
                    <a:pt x="21134" y="25058"/>
                  </a:cubicBezTo>
                  <a:lnTo>
                    <a:pt x="4803" y="25058"/>
                  </a:lnTo>
                  <a:cubicBezTo>
                    <a:pt x="1340" y="25058"/>
                    <a:pt x="0" y="23712"/>
                    <a:pt x="0" y="20270"/>
                  </a:cubicBezTo>
                  <a:lnTo>
                    <a:pt x="0" y="4783"/>
                  </a:lnTo>
                  <a:cubicBezTo>
                    <a:pt x="0" y="1346"/>
                    <a:pt x="1340" y="0"/>
                    <a:pt x="4803" y="0"/>
                  </a:cubicBezTo>
                  <a:lnTo>
                    <a:pt x="21134" y="0"/>
                  </a:lnTo>
                  <a:cubicBezTo>
                    <a:pt x="24597" y="0"/>
                    <a:pt x="25747" y="1346"/>
                    <a:pt x="25747" y="4783"/>
                  </a:cubicBezTo>
                  <a:lnTo>
                    <a:pt x="25747" y="20270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7392308D-9042-E377-E0C1-5A2E73B2BB89}"/>
                </a:ext>
              </a:extLst>
            </p:cNvPr>
            <p:cNvSpPr/>
            <p:nvPr/>
          </p:nvSpPr>
          <p:spPr>
            <a:xfrm>
              <a:off x="10526696" y="6634810"/>
              <a:ext cx="91431" cy="130061"/>
            </a:xfrm>
            <a:custGeom>
              <a:avLst/>
              <a:gdLst>
                <a:gd name="connsiteX0" fmla="*/ 25931 w 91431"/>
                <a:gd name="connsiteY0" fmla="*/ 83966 h 130061"/>
                <a:gd name="connsiteX1" fmla="*/ 25931 w 91431"/>
                <a:gd name="connsiteY1" fmla="*/ 125096 h 130061"/>
                <a:gd name="connsiteX2" fmla="*/ 21323 w 91431"/>
                <a:gd name="connsiteY2" fmla="*/ 130061 h 130061"/>
                <a:gd name="connsiteX3" fmla="*/ 4607 w 91431"/>
                <a:gd name="connsiteY3" fmla="*/ 130061 h 130061"/>
                <a:gd name="connsiteX4" fmla="*/ 0 w 91431"/>
                <a:gd name="connsiteY4" fmla="*/ 125096 h 130061"/>
                <a:gd name="connsiteX5" fmla="*/ 0 w 91431"/>
                <a:gd name="connsiteY5" fmla="*/ 4971 h 130061"/>
                <a:gd name="connsiteX6" fmla="*/ 4607 w 91431"/>
                <a:gd name="connsiteY6" fmla="*/ 0 h 130061"/>
                <a:gd name="connsiteX7" fmla="*/ 44948 w 91431"/>
                <a:gd name="connsiteY7" fmla="*/ 0 h 130061"/>
                <a:gd name="connsiteX8" fmla="*/ 91431 w 91431"/>
                <a:gd name="connsiteY8" fmla="*/ 31175 h 130061"/>
                <a:gd name="connsiteX9" fmla="*/ 91431 w 91431"/>
                <a:gd name="connsiteY9" fmla="*/ 52803 h 130061"/>
                <a:gd name="connsiteX10" fmla="*/ 44948 w 91431"/>
                <a:gd name="connsiteY10" fmla="*/ 83972 h 130061"/>
                <a:gd name="connsiteX11" fmla="*/ 25931 w 91431"/>
                <a:gd name="connsiteY11" fmla="*/ 83972 h 130061"/>
                <a:gd name="connsiteX12" fmla="*/ 25931 w 91431"/>
                <a:gd name="connsiteY12" fmla="*/ 21415 h 130061"/>
                <a:gd name="connsiteX13" fmla="*/ 25931 w 91431"/>
                <a:gd name="connsiteY13" fmla="*/ 62545 h 130061"/>
                <a:gd name="connsiteX14" fmla="*/ 44948 w 91431"/>
                <a:gd name="connsiteY14" fmla="*/ 62545 h 130061"/>
                <a:gd name="connsiteX15" fmla="*/ 65696 w 91431"/>
                <a:gd name="connsiteY15" fmla="*/ 48386 h 130061"/>
                <a:gd name="connsiteX16" fmla="*/ 65696 w 91431"/>
                <a:gd name="connsiteY16" fmla="*/ 35763 h 130061"/>
                <a:gd name="connsiteX17" fmla="*/ 44948 w 91431"/>
                <a:gd name="connsiteY17" fmla="*/ 21409 h 130061"/>
                <a:gd name="connsiteX18" fmla="*/ 25931 w 91431"/>
                <a:gd name="connsiteY18" fmla="*/ 21409 h 13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431" h="130061">
                  <a:moveTo>
                    <a:pt x="25931" y="83966"/>
                  </a:moveTo>
                  <a:lnTo>
                    <a:pt x="25931" y="125096"/>
                  </a:lnTo>
                  <a:cubicBezTo>
                    <a:pt x="25931" y="128538"/>
                    <a:pt x="24775" y="130061"/>
                    <a:pt x="21323" y="130061"/>
                  </a:cubicBezTo>
                  <a:lnTo>
                    <a:pt x="4607" y="130061"/>
                  </a:lnTo>
                  <a:cubicBezTo>
                    <a:pt x="1150" y="130061"/>
                    <a:pt x="0" y="128538"/>
                    <a:pt x="0" y="125096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07" y="0"/>
                  </a:cubicBezTo>
                  <a:lnTo>
                    <a:pt x="44948" y="0"/>
                  </a:lnTo>
                  <a:cubicBezTo>
                    <a:pt x="79708" y="0"/>
                    <a:pt x="91431" y="15109"/>
                    <a:pt x="91431" y="31175"/>
                  </a:cubicBezTo>
                  <a:lnTo>
                    <a:pt x="91431" y="52803"/>
                  </a:lnTo>
                  <a:cubicBezTo>
                    <a:pt x="91431" y="68863"/>
                    <a:pt x="79714" y="83972"/>
                    <a:pt x="44948" y="83972"/>
                  </a:cubicBezTo>
                  <a:lnTo>
                    <a:pt x="25931" y="83972"/>
                  </a:lnTo>
                  <a:close/>
                  <a:moveTo>
                    <a:pt x="25931" y="21415"/>
                  </a:moveTo>
                  <a:lnTo>
                    <a:pt x="25931" y="62545"/>
                  </a:lnTo>
                  <a:lnTo>
                    <a:pt x="44948" y="62545"/>
                  </a:lnTo>
                  <a:cubicBezTo>
                    <a:pt x="57815" y="62545"/>
                    <a:pt x="65696" y="57756"/>
                    <a:pt x="65696" y="48386"/>
                  </a:cubicBezTo>
                  <a:lnTo>
                    <a:pt x="65696" y="35763"/>
                  </a:lnTo>
                  <a:cubicBezTo>
                    <a:pt x="65696" y="26198"/>
                    <a:pt x="57815" y="21409"/>
                    <a:pt x="44948" y="21409"/>
                  </a:cubicBezTo>
                  <a:lnTo>
                    <a:pt x="25931" y="2140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3A89B64B-F02F-DC82-4D0C-99CC56626FBE}"/>
                </a:ext>
              </a:extLst>
            </p:cNvPr>
            <p:cNvSpPr/>
            <p:nvPr/>
          </p:nvSpPr>
          <p:spPr>
            <a:xfrm>
              <a:off x="10637921" y="6633275"/>
              <a:ext cx="93382" cy="133137"/>
            </a:xfrm>
            <a:custGeom>
              <a:avLst/>
              <a:gdLst>
                <a:gd name="connsiteX0" fmla="*/ 0 w 93382"/>
                <a:gd name="connsiteY0" fmla="*/ 31175 h 133137"/>
                <a:gd name="connsiteX1" fmla="*/ 46685 w 93382"/>
                <a:gd name="connsiteY1" fmla="*/ 0 h 133137"/>
                <a:gd name="connsiteX2" fmla="*/ 93382 w 93382"/>
                <a:gd name="connsiteY2" fmla="*/ 31175 h 133137"/>
                <a:gd name="connsiteX3" fmla="*/ 93382 w 93382"/>
                <a:gd name="connsiteY3" fmla="*/ 101956 h 133137"/>
                <a:gd name="connsiteX4" fmla="*/ 46685 w 93382"/>
                <a:gd name="connsiteY4" fmla="*/ 133137 h 133137"/>
                <a:gd name="connsiteX5" fmla="*/ 0 w 93382"/>
                <a:gd name="connsiteY5" fmla="*/ 101956 h 133137"/>
                <a:gd name="connsiteX6" fmla="*/ 0 w 93382"/>
                <a:gd name="connsiteY6" fmla="*/ 31175 h 133137"/>
                <a:gd name="connsiteX7" fmla="*/ 67434 w 93382"/>
                <a:gd name="connsiteY7" fmla="*/ 35769 h 133137"/>
                <a:gd name="connsiteX8" fmla="*/ 46685 w 93382"/>
                <a:gd name="connsiteY8" fmla="*/ 21427 h 133137"/>
                <a:gd name="connsiteX9" fmla="*/ 26133 w 93382"/>
                <a:gd name="connsiteY9" fmla="*/ 35769 h 133137"/>
                <a:gd name="connsiteX10" fmla="*/ 26133 w 93382"/>
                <a:gd name="connsiteY10" fmla="*/ 97369 h 133137"/>
                <a:gd name="connsiteX11" fmla="*/ 46685 w 93382"/>
                <a:gd name="connsiteY11" fmla="*/ 111716 h 133137"/>
                <a:gd name="connsiteX12" fmla="*/ 67434 w 93382"/>
                <a:gd name="connsiteY12" fmla="*/ 97369 h 133137"/>
                <a:gd name="connsiteX13" fmla="*/ 67434 w 93382"/>
                <a:gd name="connsiteY13" fmla="*/ 35769 h 133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382" h="133137">
                  <a:moveTo>
                    <a:pt x="0" y="31175"/>
                  </a:moveTo>
                  <a:cubicBezTo>
                    <a:pt x="0" y="15115"/>
                    <a:pt x="11919" y="0"/>
                    <a:pt x="46685" y="0"/>
                  </a:cubicBezTo>
                  <a:cubicBezTo>
                    <a:pt x="81452" y="0"/>
                    <a:pt x="93382" y="15115"/>
                    <a:pt x="93382" y="31175"/>
                  </a:cubicBezTo>
                  <a:lnTo>
                    <a:pt x="93382" y="101956"/>
                  </a:lnTo>
                  <a:cubicBezTo>
                    <a:pt x="93382" y="118028"/>
                    <a:pt x="81463" y="133137"/>
                    <a:pt x="46685" y="133137"/>
                  </a:cubicBezTo>
                  <a:cubicBezTo>
                    <a:pt x="11907" y="133137"/>
                    <a:pt x="0" y="118034"/>
                    <a:pt x="0" y="101956"/>
                  </a:cubicBezTo>
                  <a:lnTo>
                    <a:pt x="0" y="31175"/>
                  </a:lnTo>
                  <a:close/>
                  <a:moveTo>
                    <a:pt x="67434" y="35769"/>
                  </a:moveTo>
                  <a:cubicBezTo>
                    <a:pt x="67434" y="26209"/>
                    <a:pt x="59559" y="21427"/>
                    <a:pt x="46685" y="21427"/>
                  </a:cubicBezTo>
                  <a:cubicBezTo>
                    <a:pt x="33812" y="21427"/>
                    <a:pt x="26133" y="26215"/>
                    <a:pt x="26133" y="35769"/>
                  </a:cubicBezTo>
                  <a:lnTo>
                    <a:pt x="26133" y="97369"/>
                  </a:lnTo>
                  <a:cubicBezTo>
                    <a:pt x="26133" y="106928"/>
                    <a:pt x="33818" y="111716"/>
                    <a:pt x="46685" y="111716"/>
                  </a:cubicBezTo>
                  <a:cubicBezTo>
                    <a:pt x="59553" y="111716"/>
                    <a:pt x="67434" y="106922"/>
                    <a:pt x="67434" y="97369"/>
                  </a:cubicBezTo>
                  <a:lnTo>
                    <a:pt x="67434" y="3576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DC16F0DF-CF80-2A13-A7B8-5FAD7771F8B2}"/>
                </a:ext>
              </a:extLst>
            </p:cNvPr>
            <p:cNvSpPr/>
            <p:nvPr/>
          </p:nvSpPr>
          <p:spPr>
            <a:xfrm>
              <a:off x="10747193" y="6634804"/>
              <a:ext cx="156104" cy="130072"/>
            </a:xfrm>
            <a:custGeom>
              <a:avLst/>
              <a:gdLst>
                <a:gd name="connsiteX0" fmla="*/ 108974 w 156104"/>
                <a:gd name="connsiteY0" fmla="*/ 69813 h 130072"/>
                <a:gd name="connsiteX1" fmla="*/ 112046 w 156104"/>
                <a:gd name="connsiteY1" fmla="*/ 88754 h 130072"/>
                <a:gd name="connsiteX2" fmla="*/ 115509 w 156104"/>
                <a:gd name="connsiteY2" fmla="*/ 70008 h 130072"/>
                <a:gd name="connsiteX3" fmla="*/ 132029 w 156104"/>
                <a:gd name="connsiteY3" fmla="*/ 4783 h 130072"/>
                <a:gd name="connsiteX4" fmla="*/ 137592 w 156104"/>
                <a:gd name="connsiteY4" fmla="*/ 0 h 130072"/>
                <a:gd name="connsiteX5" fmla="*/ 152203 w 156104"/>
                <a:gd name="connsiteY5" fmla="*/ 0 h 130072"/>
                <a:gd name="connsiteX6" fmla="*/ 155855 w 156104"/>
                <a:gd name="connsiteY6" fmla="*/ 4783 h 130072"/>
                <a:gd name="connsiteX7" fmla="*/ 125311 w 156104"/>
                <a:gd name="connsiteY7" fmla="*/ 125285 h 130072"/>
                <a:gd name="connsiteX8" fmla="*/ 119357 w 156104"/>
                <a:gd name="connsiteY8" fmla="*/ 130073 h 130072"/>
                <a:gd name="connsiteX9" fmla="*/ 103033 w 156104"/>
                <a:gd name="connsiteY9" fmla="*/ 130073 h 130072"/>
                <a:gd name="connsiteX10" fmla="*/ 97654 w 156104"/>
                <a:gd name="connsiteY10" fmla="*/ 125285 h 130072"/>
                <a:gd name="connsiteX11" fmla="*/ 80743 w 156104"/>
                <a:gd name="connsiteY11" fmla="*/ 58719 h 130072"/>
                <a:gd name="connsiteX12" fmla="*/ 78051 w 156104"/>
                <a:gd name="connsiteY12" fmla="*/ 41313 h 130072"/>
                <a:gd name="connsiteX13" fmla="*/ 75370 w 156104"/>
                <a:gd name="connsiteY13" fmla="*/ 58719 h 130072"/>
                <a:gd name="connsiteX14" fmla="*/ 58464 w 156104"/>
                <a:gd name="connsiteY14" fmla="*/ 125285 h 130072"/>
                <a:gd name="connsiteX15" fmla="*/ 52493 w 156104"/>
                <a:gd name="connsiteY15" fmla="*/ 130073 h 130072"/>
                <a:gd name="connsiteX16" fmla="*/ 36163 w 156104"/>
                <a:gd name="connsiteY16" fmla="*/ 130073 h 130072"/>
                <a:gd name="connsiteX17" fmla="*/ 30790 w 156104"/>
                <a:gd name="connsiteY17" fmla="*/ 125285 h 130072"/>
                <a:gd name="connsiteX18" fmla="*/ 240 w 156104"/>
                <a:gd name="connsiteY18" fmla="*/ 4783 h 130072"/>
                <a:gd name="connsiteX19" fmla="*/ 3899 w 156104"/>
                <a:gd name="connsiteY19" fmla="*/ 0 h 130072"/>
                <a:gd name="connsiteX20" fmla="*/ 21000 w 156104"/>
                <a:gd name="connsiteY20" fmla="*/ 0 h 130072"/>
                <a:gd name="connsiteX21" fmla="*/ 26562 w 156104"/>
                <a:gd name="connsiteY21" fmla="*/ 4783 h 130072"/>
                <a:gd name="connsiteX22" fmla="*/ 42703 w 156104"/>
                <a:gd name="connsiteY22" fmla="*/ 70008 h 130072"/>
                <a:gd name="connsiteX23" fmla="*/ 45775 w 156104"/>
                <a:gd name="connsiteY23" fmla="*/ 86068 h 130072"/>
                <a:gd name="connsiteX24" fmla="*/ 49244 w 156104"/>
                <a:gd name="connsiteY24" fmla="*/ 70008 h 130072"/>
                <a:gd name="connsiteX25" fmla="*/ 65764 w 156104"/>
                <a:gd name="connsiteY25" fmla="*/ 4783 h 130072"/>
                <a:gd name="connsiteX26" fmla="*/ 71516 w 156104"/>
                <a:gd name="connsiteY26" fmla="*/ 0 h 130072"/>
                <a:gd name="connsiteX27" fmla="*/ 87076 w 156104"/>
                <a:gd name="connsiteY27" fmla="*/ 0 h 130072"/>
                <a:gd name="connsiteX28" fmla="*/ 92851 w 156104"/>
                <a:gd name="connsiteY28" fmla="*/ 4783 h 130072"/>
                <a:gd name="connsiteX29" fmla="*/ 108986 w 156104"/>
                <a:gd name="connsiteY29" fmla="*/ 69813 h 13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6104" h="130072">
                  <a:moveTo>
                    <a:pt x="108974" y="69813"/>
                  </a:moveTo>
                  <a:cubicBezTo>
                    <a:pt x="110516" y="76314"/>
                    <a:pt x="111868" y="87030"/>
                    <a:pt x="112046" y="88754"/>
                  </a:cubicBezTo>
                  <a:cubicBezTo>
                    <a:pt x="112236" y="87414"/>
                    <a:pt x="113398" y="78428"/>
                    <a:pt x="115509" y="70008"/>
                  </a:cubicBezTo>
                  <a:lnTo>
                    <a:pt x="132029" y="4783"/>
                  </a:lnTo>
                  <a:cubicBezTo>
                    <a:pt x="132788" y="1724"/>
                    <a:pt x="134324" y="0"/>
                    <a:pt x="137592" y="0"/>
                  </a:cubicBezTo>
                  <a:lnTo>
                    <a:pt x="152203" y="0"/>
                  </a:lnTo>
                  <a:cubicBezTo>
                    <a:pt x="155666" y="0"/>
                    <a:pt x="156626" y="1724"/>
                    <a:pt x="155855" y="4783"/>
                  </a:cubicBezTo>
                  <a:lnTo>
                    <a:pt x="125311" y="125285"/>
                  </a:lnTo>
                  <a:cubicBezTo>
                    <a:pt x="124540" y="128544"/>
                    <a:pt x="122625" y="130073"/>
                    <a:pt x="119357" y="130073"/>
                  </a:cubicBezTo>
                  <a:lnTo>
                    <a:pt x="103033" y="130073"/>
                  </a:lnTo>
                  <a:cubicBezTo>
                    <a:pt x="100139" y="130073"/>
                    <a:pt x="98408" y="128355"/>
                    <a:pt x="97654" y="125285"/>
                  </a:cubicBezTo>
                  <a:lnTo>
                    <a:pt x="80743" y="58719"/>
                  </a:lnTo>
                  <a:cubicBezTo>
                    <a:pt x="79580" y="54527"/>
                    <a:pt x="78234" y="43421"/>
                    <a:pt x="78051" y="41313"/>
                  </a:cubicBezTo>
                  <a:cubicBezTo>
                    <a:pt x="77861" y="43232"/>
                    <a:pt x="76319" y="54905"/>
                    <a:pt x="75370" y="58719"/>
                  </a:cubicBezTo>
                  <a:lnTo>
                    <a:pt x="58464" y="125285"/>
                  </a:lnTo>
                  <a:cubicBezTo>
                    <a:pt x="57682" y="128544"/>
                    <a:pt x="55956" y="130073"/>
                    <a:pt x="52493" y="130073"/>
                  </a:cubicBezTo>
                  <a:lnTo>
                    <a:pt x="36163" y="130073"/>
                  </a:lnTo>
                  <a:cubicBezTo>
                    <a:pt x="33287" y="130073"/>
                    <a:pt x="31561" y="128355"/>
                    <a:pt x="30790" y="125285"/>
                  </a:cubicBezTo>
                  <a:lnTo>
                    <a:pt x="240" y="4783"/>
                  </a:lnTo>
                  <a:cubicBezTo>
                    <a:pt x="-513" y="1724"/>
                    <a:pt x="453" y="0"/>
                    <a:pt x="3899" y="0"/>
                  </a:cubicBezTo>
                  <a:lnTo>
                    <a:pt x="21000" y="0"/>
                  </a:lnTo>
                  <a:cubicBezTo>
                    <a:pt x="24261" y="0"/>
                    <a:pt x="25797" y="1724"/>
                    <a:pt x="26562" y="4783"/>
                  </a:cubicBezTo>
                  <a:lnTo>
                    <a:pt x="42703" y="70008"/>
                  </a:lnTo>
                  <a:cubicBezTo>
                    <a:pt x="44435" y="77087"/>
                    <a:pt x="45775" y="86068"/>
                    <a:pt x="45775" y="86068"/>
                  </a:cubicBezTo>
                  <a:cubicBezTo>
                    <a:pt x="45775" y="86068"/>
                    <a:pt x="46753" y="79756"/>
                    <a:pt x="49244" y="70008"/>
                  </a:cubicBezTo>
                  <a:lnTo>
                    <a:pt x="65764" y="4783"/>
                  </a:lnTo>
                  <a:cubicBezTo>
                    <a:pt x="66529" y="1724"/>
                    <a:pt x="68071" y="0"/>
                    <a:pt x="71516" y="0"/>
                  </a:cubicBezTo>
                  <a:lnTo>
                    <a:pt x="87076" y="0"/>
                  </a:lnTo>
                  <a:cubicBezTo>
                    <a:pt x="90539" y="0"/>
                    <a:pt x="92086" y="1724"/>
                    <a:pt x="92851" y="4783"/>
                  </a:cubicBezTo>
                  <a:lnTo>
                    <a:pt x="108986" y="69813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09730EF9-C33B-C2D4-EF13-E866B34B5BF9}"/>
                </a:ext>
              </a:extLst>
            </p:cNvPr>
            <p:cNvSpPr/>
            <p:nvPr/>
          </p:nvSpPr>
          <p:spPr>
            <a:xfrm>
              <a:off x="10921104" y="6634804"/>
              <a:ext cx="77045" cy="130078"/>
            </a:xfrm>
            <a:custGeom>
              <a:avLst/>
              <a:gdLst>
                <a:gd name="connsiteX0" fmla="*/ 4607 w 77045"/>
                <a:gd name="connsiteY0" fmla="*/ 130073 h 130078"/>
                <a:gd name="connsiteX1" fmla="*/ 0 w 77045"/>
                <a:gd name="connsiteY1" fmla="*/ 125107 h 130078"/>
                <a:gd name="connsiteX2" fmla="*/ 0 w 77045"/>
                <a:gd name="connsiteY2" fmla="*/ 4977 h 130078"/>
                <a:gd name="connsiteX3" fmla="*/ 4607 w 77045"/>
                <a:gd name="connsiteY3" fmla="*/ 0 h 130078"/>
                <a:gd name="connsiteX4" fmla="*/ 70310 w 77045"/>
                <a:gd name="connsiteY4" fmla="*/ 0 h 130078"/>
                <a:gd name="connsiteX5" fmla="*/ 75113 w 77045"/>
                <a:gd name="connsiteY5" fmla="*/ 4594 h 130078"/>
                <a:gd name="connsiteX6" fmla="*/ 75113 w 77045"/>
                <a:gd name="connsiteY6" fmla="*/ 16644 h 130078"/>
                <a:gd name="connsiteX7" fmla="*/ 70310 w 77045"/>
                <a:gd name="connsiteY7" fmla="*/ 21427 h 130078"/>
                <a:gd name="connsiteX8" fmla="*/ 25931 w 77045"/>
                <a:gd name="connsiteY8" fmla="*/ 21427 h 130078"/>
                <a:gd name="connsiteX9" fmla="*/ 25931 w 77045"/>
                <a:gd name="connsiteY9" fmla="*/ 52407 h 130078"/>
                <a:gd name="connsiteX10" fmla="*/ 67048 w 77045"/>
                <a:gd name="connsiteY10" fmla="*/ 52407 h 130078"/>
                <a:gd name="connsiteX11" fmla="*/ 72035 w 77045"/>
                <a:gd name="connsiteY11" fmla="*/ 56995 h 130078"/>
                <a:gd name="connsiteX12" fmla="*/ 72035 w 77045"/>
                <a:gd name="connsiteY12" fmla="*/ 68479 h 130078"/>
                <a:gd name="connsiteX13" fmla="*/ 67048 w 77045"/>
                <a:gd name="connsiteY13" fmla="*/ 73066 h 130078"/>
                <a:gd name="connsiteX14" fmla="*/ 25931 w 77045"/>
                <a:gd name="connsiteY14" fmla="*/ 73066 h 130078"/>
                <a:gd name="connsiteX15" fmla="*/ 25931 w 77045"/>
                <a:gd name="connsiteY15" fmla="*/ 108652 h 130078"/>
                <a:gd name="connsiteX16" fmla="*/ 72237 w 77045"/>
                <a:gd name="connsiteY16" fmla="*/ 108652 h 130078"/>
                <a:gd name="connsiteX17" fmla="*/ 77046 w 77045"/>
                <a:gd name="connsiteY17" fmla="*/ 113251 h 130078"/>
                <a:gd name="connsiteX18" fmla="*/ 77046 w 77045"/>
                <a:gd name="connsiteY18" fmla="*/ 125290 h 130078"/>
                <a:gd name="connsiteX19" fmla="*/ 72237 w 77045"/>
                <a:gd name="connsiteY19" fmla="*/ 130079 h 130078"/>
                <a:gd name="connsiteX20" fmla="*/ 4607 w 77045"/>
                <a:gd name="connsiteY20" fmla="*/ 130079 h 130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045" h="130078">
                  <a:moveTo>
                    <a:pt x="4607" y="130073"/>
                  </a:moveTo>
                  <a:cubicBezTo>
                    <a:pt x="1156" y="130073"/>
                    <a:pt x="0" y="128550"/>
                    <a:pt x="0" y="125107"/>
                  </a:cubicBezTo>
                  <a:lnTo>
                    <a:pt x="0" y="4977"/>
                  </a:lnTo>
                  <a:cubicBezTo>
                    <a:pt x="0" y="1523"/>
                    <a:pt x="1156" y="0"/>
                    <a:pt x="4607" y="0"/>
                  </a:cubicBezTo>
                  <a:lnTo>
                    <a:pt x="70310" y="0"/>
                  </a:lnTo>
                  <a:cubicBezTo>
                    <a:pt x="73595" y="0"/>
                    <a:pt x="75113" y="1151"/>
                    <a:pt x="75113" y="4594"/>
                  </a:cubicBezTo>
                  <a:lnTo>
                    <a:pt x="75113" y="16644"/>
                  </a:lnTo>
                  <a:cubicBezTo>
                    <a:pt x="75113" y="20087"/>
                    <a:pt x="73595" y="21427"/>
                    <a:pt x="70310" y="21427"/>
                  </a:cubicBezTo>
                  <a:lnTo>
                    <a:pt x="25931" y="21427"/>
                  </a:lnTo>
                  <a:lnTo>
                    <a:pt x="25931" y="52407"/>
                  </a:lnTo>
                  <a:lnTo>
                    <a:pt x="67048" y="52407"/>
                  </a:lnTo>
                  <a:cubicBezTo>
                    <a:pt x="70505" y="52407"/>
                    <a:pt x="72035" y="53558"/>
                    <a:pt x="72035" y="56995"/>
                  </a:cubicBezTo>
                  <a:lnTo>
                    <a:pt x="72035" y="68479"/>
                  </a:lnTo>
                  <a:cubicBezTo>
                    <a:pt x="72035" y="71726"/>
                    <a:pt x="70505" y="73066"/>
                    <a:pt x="67048" y="73066"/>
                  </a:cubicBezTo>
                  <a:lnTo>
                    <a:pt x="25931" y="73066"/>
                  </a:lnTo>
                  <a:lnTo>
                    <a:pt x="25931" y="108652"/>
                  </a:lnTo>
                  <a:lnTo>
                    <a:pt x="72237" y="108652"/>
                  </a:lnTo>
                  <a:cubicBezTo>
                    <a:pt x="75688" y="108652"/>
                    <a:pt x="77046" y="109791"/>
                    <a:pt x="77046" y="113251"/>
                  </a:cubicBezTo>
                  <a:lnTo>
                    <a:pt x="77046" y="125290"/>
                  </a:lnTo>
                  <a:cubicBezTo>
                    <a:pt x="77046" y="128733"/>
                    <a:pt x="75688" y="130079"/>
                    <a:pt x="72237" y="130079"/>
                  </a:cubicBezTo>
                  <a:lnTo>
                    <a:pt x="4607" y="13007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4C92472-67EB-9EC5-9075-7E73DB6663A3}"/>
                </a:ext>
              </a:extLst>
            </p:cNvPr>
            <p:cNvSpPr/>
            <p:nvPr/>
          </p:nvSpPr>
          <p:spPr>
            <a:xfrm>
              <a:off x="11019467" y="6634810"/>
              <a:ext cx="91450" cy="130067"/>
            </a:xfrm>
            <a:custGeom>
              <a:avLst/>
              <a:gdLst>
                <a:gd name="connsiteX0" fmla="*/ 25931 w 91450"/>
                <a:gd name="connsiteY0" fmla="*/ 80530 h 130067"/>
                <a:gd name="connsiteX1" fmla="*/ 25931 w 91450"/>
                <a:gd name="connsiteY1" fmla="*/ 125101 h 130067"/>
                <a:gd name="connsiteX2" fmla="*/ 21324 w 91450"/>
                <a:gd name="connsiteY2" fmla="*/ 130067 h 130067"/>
                <a:gd name="connsiteX3" fmla="*/ 4625 w 91450"/>
                <a:gd name="connsiteY3" fmla="*/ 130067 h 130067"/>
                <a:gd name="connsiteX4" fmla="*/ 0 w 91450"/>
                <a:gd name="connsiteY4" fmla="*/ 125101 h 130067"/>
                <a:gd name="connsiteX5" fmla="*/ 0 w 91450"/>
                <a:gd name="connsiteY5" fmla="*/ 4971 h 130067"/>
                <a:gd name="connsiteX6" fmla="*/ 4625 w 91450"/>
                <a:gd name="connsiteY6" fmla="*/ 0 h 130067"/>
                <a:gd name="connsiteX7" fmla="*/ 44954 w 91450"/>
                <a:gd name="connsiteY7" fmla="*/ 0 h 130067"/>
                <a:gd name="connsiteX8" fmla="*/ 91449 w 91450"/>
                <a:gd name="connsiteY8" fmla="*/ 31175 h 130067"/>
                <a:gd name="connsiteX9" fmla="*/ 91449 w 91450"/>
                <a:gd name="connsiteY9" fmla="*/ 49349 h 130067"/>
                <a:gd name="connsiteX10" fmla="*/ 70327 w 91450"/>
                <a:gd name="connsiteY10" fmla="*/ 76898 h 130067"/>
                <a:gd name="connsiteX11" fmla="*/ 91064 w 91450"/>
                <a:gd name="connsiteY11" fmla="*/ 125101 h 130067"/>
                <a:gd name="connsiteX12" fmla="*/ 86646 w 91450"/>
                <a:gd name="connsiteY12" fmla="*/ 130067 h 130067"/>
                <a:gd name="connsiteX13" fmla="*/ 69752 w 91450"/>
                <a:gd name="connsiteY13" fmla="*/ 130067 h 130067"/>
                <a:gd name="connsiteX14" fmla="*/ 64937 w 91450"/>
                <a:gd name="connsiteY14" fmla="*/ 125101 h 130067"/>
                <a:gd name="connsiteX15" fmla="*/ 46110 w 91450"/>
                <a:gd name="connsiteY15" fmla="*/ 80530 h 130067"/>
                <a:gd name="connsiteX16" fmla="*/ 25931 w 91450"/>
                <a:gd name="connsiteY16" fmla="*/ 80530 h 130067"/>
                <a:gd name="connsiteX17" fmla="*/ 25931 w 91450"/>
                <a:gd name="connsiteY17" fmla="*/ 21415 h 130067"/>
                <a:gd name="connsiteX18" fmla="*/ 25931 w 91450"/>
                <a:gd name="connsiteY18" fmla="*/ 59097 h 130067"/>
                <a:gd name="connsiteX19" fmla="*/ 44948 w 91450"/>
                <a:gd name="connsiteY19" fmla="*/ 59097 h 130067"/>
                <a:gd name="connsiteX20" fmla="*/ 65708 w 91450"/>
                <a:gd name="connsiteY20" fmla="*/ 44749 h 130067"/>
                <a:gd name="connsiteX21" fmla="*/ 65708 w 91450"/>
                <a:gd name="connsiteY21" fmla="*/ 35769 h 130067"/>
                <a:gd name="connsiteX22" fmla="*/ 44948 w 91450"/>
                <a:gd name="connsiteY22" fmla="*/ 21415 h 130067"/>
                <a:gd name="connsiteX23" fmla="*/ 25931 w 91450"/>
                <a:gd name="connsiteY23" fmla="*/ 21415 h 13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1450" h="130067">
                  <a:moveTo>
                    <a:pt x="25931" y="80530"/>
                  </a:moveTo>
                  <a:lnTo>
                    <a:pt x="25931" y="125101"/>
                  </a:lnTo>
                  <a:cubicBezTo>
                    <a:pt x="25931" y="128544"/>
                    <a:pt x="24781" y="130067"/>
                    <a:pt x="21324" y="130067"/>
                  </a:cubicBezTo>
                  <a:lnTo>
                    <a:pt x="4625" y="130067"/>
                  </a:lnTo>
                  <a:cubicBezTo>
                    <a:pt x="1156" y="130067"/>
                    <a:pt x="0" y="128544"/>
                    <a:pt x="0" y="125101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25" y="0"/>
                  </a:cubicBezTo>
                  <a:lnTo>
                    <a:pt x="44954" y="0"/>
                  </a:lnTo>
                  <a:cubicBezTo>
                    <a:pt x="79732" y="0"/>
                    <a:pt x="91449" y="15109"/>
                    <a:pt x="91449" y="31175"/>
                  </a:cubicBezTo>
                  <a:lnTo>
                    <a:pt x="91449" y="49349"/>
                  </a:lnTo>
                  <a:cubicBezTo>
                    <a:pt x="91449" y="60632"/>
                    <a:pt x="85679" y="71348"/>
                    <a:pt x="70327" y="76898"/>
                  </a:cubicBezTo>
                  <a:lnTo>
                    <a:pt x="91064" y="125101"/>
                  </a:lnTo>
                  <a:cubicBezTo>
                    <a:pt x="92404" y="128160"/>
                    <a:pt x="90103" y="130067"/>
                    <a:pt x="86646" y="130067"/>
                  </a:cubicBezTo>
                  <a:lnTo>
                    <a:pt x="69752" y="130067"/>
                  </a:lnTo>
                  <a:cubicBezTo>
                    <a:pt x="67054" y="130067"/>
                    <a:pt x="66289" y="128154"/>
                    <a:pt x="64937" y="125101"/>
                  </a:cubicBezTo>
                  <a:lnTo>
                    <a:pt x="46110" y="80530"/>
                  </a:lnTo>
                  <a:lnTo>
                    <a:pt x="25931" y="80530"/>
                  </a:lnTo>
                  <a:close/>
                  <a:moveTo>
                    <a:pt x="25931" y="21415"/>
                  </a:moveTo>
                  <a:lnTo>
                    <a:pt x="25931" y="59097"/>
                  </a:lnTo>
                  <a:lnTo>
                    <a:pt x="44948" y="59097"/>
                  </a:lnTo>
                  <a:cubicBezTo>
                    <a:pt x="57821" y="59097"/>
                    <a:pt x="65708" y="54320"/>
                    <a:pt x="65708" y="44749"/>
                  </a:cubicBezTo>
                  <a:lnTo>
                    <a:pt x="65708" y="35769"/>
                  </a:lnTo>
                  <a:cubicBezTo>
                    <a:pt x="65708" y="26204"/>
                    <a:pt x="57827" y="21415"/>
                    <a:pt x="44948" y="21415"/>
                  </a:cubicBezTo>
                  <a:lnTo>
                    <a:pt x="25931" y="21415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0DDE8C4-BD00-9FDE-936B-36683A41B4F7}"/>
                </a:ext>
              </a:extLst>
            </p:cNvPr>
            <p:cNvSpPr/>
            <p:nvPr/>
          </p:nvSpPr>
          <p:spPr>
            <a:xfrm>
              <a:off x="11158663" y="6634615"/>
              <a:ext cx="2698" cy="130887"/>
            </a:xfrm>
            <a:custGeom>
              <a:avLst/>
              <a:gdLst>
                <a:gd name="connsiteX0" fmla="*/ 0 w 2698"/>
                <a:gd name="connsiteY0" fmla="*/ 0 h 130887"/>
                <a:gd name="connsiteX1" fmla="*/ 2698 w 2698"/>
                <a:gd name="connsiteY1" fmla="*/ 0 h 130887"/>
                <a:gd name="connsiteX2" fmla="*/ 2698 w 2698"/>
                <a:gd name="connsiteY2" fmla="*/ 130888 h 130887"/>
                <a:gd name="connsiteX3" fmla="*/ 0 w 2698"/>
                <a:gd name="connsiteY3" fmla="*/ 130888 h 130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8" h="130887">
                  <a:moveTo>
                    <a:pt x="0" y="0"/>
                  </a:moveTo>
                  <a:lnTo>
                    <a:pt x="2698" y="0"/>
                  </a:lnTo>
                  <a:lnTo>
                    <a:pt x="2698" y="130888"/>
                  </a:lnTo>
                  <a:lnTo>
                    <a:pt x="0" y="13088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EB0421D7-66B9-4F55-CE64-FC7C26A4F79D}"/>
                </a:ext>
              </a:extLst>
            </p:cNvPr>
            <p:cNvSpPr/>
            <p:nvPr/>
          </p:nvSpPr>
          <p:spPr>
            <a:xfrm>
              <a:off x="11206955" y="6634013"/>
              <a:ext cx="41295" cy="57537"/>
            </a:xfrm>
            <a:custGeom>
              <a:avLst/>
              <a:gdLst>
                <a:gd name="connsiteX0" fmla="*/ 1785 w 41295"/>
                <a:gd name="connsiteY0" fmla="*/ 57538 h 57537"/>
                <a:gd name="connsiteX1" fmla="*/ 0 w 41295"/>
                <a:gd name="connsiteY1" fmla="*/ 55336 h 57537"/>
                <a:gd name="connsiteX2" fmla="*/ 0 w 41295"/>
                <a:gd name="connsiteY2" fmla="*/ 2202 h 57537"/>
                <a:gd name="connsiteX3" fmla="*/ 2040 w 41295"/>
                <a:gd name="connsiteY3" fmla="*/ 0 h 57537"/>
                <a:gd name="connsiteX4" fmla="*/ 20564 w 41295"/>
                <a:gd name="connsiteY4" fmla="*/ 0 h 57537"/>
                <a:gd name="connsiteX5" fmla="*/ 41295 w 41295"/>
                <a:gd name="connsiteY5" fmla="*/ 13793 h 57537"/>
                <a:gd name="connsiteX6" fmla="*/ 41295 w 41295"/>
                <a:gd name="connsiteY6" fmla="*/ 43745 h 57537"/>
                <a:gd name="connsiteX7" fmla="*/ 20564 w 41295"/>
                <a:gd name="connsiteY7" fmla="*/ 57538 h 57537"/>
                <a:gd name="connsiteX8" fmla="*/ 1779 w 41295"/>
                <a:gd name="connsiteY8" fmla="*/ 57538 h 57537"/>
                <a:gd name="connsiteX9" fmla="*/ 11468 w 41295"/>
                <a:gd name="connsiteY9" fmla="*/ 9476 h 57537"/>
                <a:gd name="connsiteX10" fmla="*/ 11468 w 41295"/>
                <a:gd name="connsiteY10" fmla="*/ 48061 h 57537"/>
                <a:gd name="connsiteX11" fmla="*/ 20564 w 41295"/>
                <a:gd name="connsiteY11" fmla="*/ 48061 h 57537"/>
                <a:gd name="connsiteX12" fmla="*/ 29821 w 41295"/>
                <a:gd name="connsiteY12" fmla="*/ 41714 h 57537"/>
                <a:gd name="connsiteX13" fmla="*/ 29821 w 41295"/>
                <a:gd name="connsiteY13" fmla="*/ 15824 h 57537"/>
                <a:gd name="connsiteX14" fmla="*/ 20564 w 41295"/>
                <a:gd name="connsiteY14" fmla="*/ 9476 h 57537"/>
                <a:gd name="connsiteX15" fmla="*/ 11468 w 41295"/>
                <a:gd name="connsiteY15" fmla="*/ 9476 h 5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295" h="57537">
                  <a:moveTo>
                    <a:pt x="1785" y="57538"/>
                  </a:moveTo>
                  <a:cubicBezTo>
                    <a:pt x="427" y="57538"/>
                    <a:pt x="0" y="56776"/>
                    <a:pt x="0" y="55336"/>
                  </a:cubicBezTo>
                  <a:lnTo>
                    <a:pt x="0" y="2202"/>
                  </a:lnTo>
                  <a:cubicBezTo>
                    <a:pt x="0" y="679"/>
                    <a:pt x="510" y="0"/>
                    <a:pt x="2040" y="0"/>
                  </a:cubicBezTo>
                  <a:lnTo>
                    <a:pt x="20564" y="0"/>
                  </a:lnTo>
                  <a:cubicBezTo>
                    <a:pt x="35946" y="0"/>
                    <a:pt x="41295" y="6684"/>
                    <a:pt x="41295" y="13793"/>
                  </a:cubicBezTo>
                  <a:lnTo>
                    <a:pt x="41295" y="43745"/>
                  </a:lnTo>
                  <a:cubicBezTo>
                    <a:pt x="41295" y="50854"/>
                    <a:pt x="35940" y="57538"/>
                    <a:pt x="20564" y="57538"/>
                  </a:cubicBezTo>
                  <a:lnTo>
                    <a:pt x="1779" y="57538"/>
                  </a:lnTo>
                  <a:close/>
                  <a:moveTo>
                    <a:pt x="11468" y="9476"/>
                  </a:moveTo>
                  <a:lnTo>
                    <a:pt x="11468" y="48061"/>
                  </a:lnTo>
                  <a:lnTo>
                    <a:pt x="20564" y="48061"/>
                  </a:lnTo>
                  <a:cubicBezTo>
                    <a:pt x="26340" y="48061"/>
                    <a:pt x="29821" y="45942"/>
                    <a:pt x="29821" y="41714"/>
                  </a:cubicBezTo>
                  <a:lnTo>
                    <a:pt x="29821" y="15824"/>
                  </a:lnTo>
                  <a:cubicBezTo>
                    <a:pt x="29821" y="11590"/>
                    <a:pt x="26340" y="9476"/>
                    <a:pt x="20564" y="9476"/>
                  </a:cubicBezTo>
                  <a:lnTo>
                    <a:pt x="11468" y="947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AD57E75C-DA95-A012-8BDF-53A3C8D5FC3D}"/>
                </a:ext>
              </a:extLst>
            </p:cNvPr>
            <p:cNvSpPr/>
            <p:nvPr/>
          </p:nvSpPr>
          <p:spPr>
            <a:xfrm>
              <a:off x="11257436" y="6648738"/>
              <a:ext cx="34499" cy="43491"/>
            </a:xfrm>
            <a:custGeom>
              <a:avLst/>
              <a:gdLst>
                <a:gd name="connsiteX0" fmla="*/ 34494 w 34499"/>
                <a:gd name="connsiteY0" fmla="*/ 22248 h 43491"/>
                <a:gd name="connsiteX1" fmla="*/ 32626 w 34499"/>
                <a:gd name="connsiteY1" fmla="*/ 24196 h 43491"/>
                <a:gd name="connsiteX2" fmla="*/ 10875 w 34499"/>
                <a:gd name="connsiteY2" fmla="*/ 24196 h 43491"/>
                <a:gd name="connsiteX3" fmla="*/ 10875 w 34499"/>
                <a:gd name="connsiteY3" fmla="*/ 30461 h 43491"/>
                <a:gd name="connsiteX4" fmla="*/ 17505 w 34499"/>
                <a:gd name="connsiteY4" fmla="*/ 35113 h 43491"/>
                <a:gd name="connsiteX5" fmla="*/ 24134 w 34499"/>
                <a:gd name="connsiteY5" fmla="*/ 30461 h 43491"/>
                <a:gd name="connsiteX6" fmla="*/ 24134 w 34499"/>
                <a:gd name="connsiteY6" fmla="*/ 30035 h 43491"/>
                <a:gd name="connsiteX7" fmla="*/ 26257 w 34499"/>
                <a:gd name="connsiteY7" fmla="*/ 27922 h 43491"/>
                <a:gd name="connsiteX8" fmla="*/ 32205 w 34499"/>
                <a:gd name="connsiteY8" fmla="*/ 27922 h 43491"/>
                <a:gd name="connsiteX9" fmla="*/ 34328 w 34499"/>
                <a:gd name="connsiteY9" fmla="*/ 30035 h 43491"/>
                <a:gd name="connsiteX10" fmla="*/ 34328 w 34499"/>
                <a:gd name="connsiteY10" fmla="*/ 30968 h 43491"/>
                <a:gd name="connsiteX11" fmla="*/ 17416 w 34499"/>
                <a:gd name="connsiteY11" fmla="*/ 43491 h 43491"/>
                <a:gd name="connsiteX12" fmla="*/ 0 w 34499"/>
                <a:gd name="connsiteY12" fmla="*/ 30968 h 43491"/>
                <a:gd name="connsiteX13" fmla="*/ 0 w 34499"/>
                <a:gd name="connsiteY13" fmla="*/ 12435 h 43491"/>
                <a:gd name="connsiteX14" fmla="*/ 17505 w 34499"/>
                <a:gd name="connsiteY14" fmla="*/ 0 h 43491"/>
                <a:gd name="connsiteX15" fmla="*/ 34499 w 34499"/>
                <a:gd name="connsiteY15" fmla="*/ 12435 h 43491"/>
                <a:gd name="connsiteX16" fmla="*/ 34499 w 34499"/>
                <a:gd name="connsiteY16" fmla="*/ 22254 h 43491"/>
                <a:gd name="connsiteX17" fmla="*/ 10869 w 34499"/>
                <a:gd name="connsiteY17" fmla="*/ 16751 h 43491"/>
                <a:gd name="connsiteX18" fmla="*/ 24128 w 34499"/>
                <a:gd name="connsiteY18" fmla="*/ 16751 h 43491"/>
                <a:gd name="connsiteX19" fmla="*/ 24128 w 34499"/>
                <a:gd name="connsiteY19" fmla="*/ 13025 h 43491"/>
                <a:gd name="connsiteX20" fmla="*/ 17499 w 34499"/>
                <a:gd name="connsiteY20" fmla="*/ 8372 h 43491"/>
                <a:gd name="connsiteX21" fmla="*/ 10869 w 34499"/>
                <a:gd name="connsiteY21" fmla="*/ 13025 h 43491"/>
                <a:gd name="connsiteX22" fmla="*/ 10869 w 34499"/>
                <a:gd name="connsiteY22" fmla="*/ 16751 h 43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499" h="43491">
                  <a:moveTo>
                    <a:pt x="34494" y="22248"/>
                  </a:moveTo>
                  <a:cubicBezTo>
                    <a:pt x="34494" y="23600"/>
                    <a:pt x="33984" y="24196"/>
                    <a:pt x="32626" y="24196"/>
                  </a:cubicBezTo>
                  <a:lnTo>
                    <a:pt x="10875" y="24196"/>
                  </a:lnTo>
                  <a:lnTo>
                    <a:pt x="10875" y="30461"/>
                  </a:lnTo>
                  <a:cubicBezTo>
                    <a:pt x="10875" y="33419"/>
                    <a:pt x="12488" y="35113"/>
                    <a:pt x="17505" y="35113"/>
                  </a:cubicBezTo>
                  <a:cubicBezTo>
                    <a:pt x="22521" y="35113"/>
                    <a:pt x="24134" y="33419"/>
                    <a:pt x="24134" y="30461"/>
                  </a:cubicBezTo>
                  <a:lnTo>
                    <a:pt x="24134" y="30035"/>
                  </a:lnTo>
                  <a:cubicBezTo>
                    <a:pt x="24134" y="28595"/>
                    <a:pt x="24727" y="27922"/>
                    <a:pt x="26257" y="27922"/>
                  </a:cubicBezTo>
                  <a:lnTo>
                    <a:pt x="32205" y="27922"/>
                  </a:lnTo>
                  <a:cubicBezTo>
                    <a:pt x="33652" y="27922"/>
                    <a:pt x="34328" y="28595"/>
                    <a:pt x="34328" y="30035"/>
                  </a:cubicBezTo>
                  <a:lnTo>
                    <a:pt x="34328" y="30968"/>
                  </a:lnTo>
                  <a:cubicBezTo>
                    <a:pt x="34328" y="38585"/>
                    <a:pt x="29910" y="43491"/>
                    <a:pt x="17416" y="43491"/>
                  </a:cubicBezTo>
                  <a:cubicBezTo>
                    <a:pt x="4922" y="43491"/>
                    <a:pt x="0" y="38585"/>
                    <a:pt x="0" y="30968"/>
                  </a:cubicBezTo>
                  <a:lnTo>
                    <a:pt x="0" y="12435"/>
                  </a:lnTo>
                  <a:cubicBezTo>
                    <a:pt x="0" y="4907"/>
                    <a:pt x="5011" y="0"/>
                    <a:pt x="17505" y="0"/>
                  </a:cubicBezTo>
                  <a:cubicBezTo>
                    <a:pt x="29999" y="0"/>
                    <a:pt x="34499" y="4907"/>
                    <a:pt x="34499" y="12435"/>
                  </a:cubicBezTo>
                  <a:lnTo>
                    <a:pt x="34499" y="22254"/>
                  </a:lnTo>
                  <a:close/>
                  <a:moveTo>
                    <a:pt x="10869" y="16751"/>
                  </a:moveTo>
                  <a:lnTo>
                    <a:pt x="24128" y="16751"/>
                  </a:lnTo>
                  <a:lnTo>
                    <a:pt x="24128" y="13025"/>
                  </a:lnTo>
                  <a:cubicBezTo>
                    <a:pt x="24128" y="10067"/>
                    <a:pt x="22260" y="8372"/>
                    <a:pt x="17499" y="8372"/>
                  </a:cubicBezTo>
                  <a:cubicBezTo>
                    <a:pt x="12737" y="8372"/>
                    <a:pt x="10869" y="10067"/>
                    <a:pt x="10869" y="13025"/>
                  </a:cubicBezTo>
                  <a:lnTo>
                    <a:pt x="10869" y="16751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1F38A879-C4A5-45F1-5146-FE5B76D09F68}"/>
                </a:ext>
              </a:extLst>
            </p:cNvPr>
            <p:cNvSpPr/>
            <p:nvPr/>
          </p:nvSpPr>
          <p:spPr>
            <a:xfrm>
              <a:off x="11206944" y="6705987"/>
              <a:ext cx="51595" cy="57537"/>
            </a:xfrm>
            <a:custGeom>
              <a:avLst/>
              <a:gdLst>
                <a:gd name="connsiteX0" fmla="*/ 51595 w 51595"/>
                <a:gd name="connsiteY0" fmla="*/ 55424 h 57537"/>
                <a:gd name="connsiteX1" fmla="*/ 49555 w 51595"/>
                <a:gd name="connsiteY1" fmla="*/ 57538 h 57537"/>
                <a:gd name="connsiteX2" fmla="*/ 42499 w 51595"/>
                <a:gd name="connsiteY2" fmla="*/ 57538 h 57537"/>
                <a:gd name="connsiteX3" fmla="*/ 40459 w 51595"/>
                <a:gd name="connsiteY3" fmla="*/ 55424 h 57537"/>
                <a:gd name="connsiteX4" fmla="*/ 40459 w 51595"/>
                <a:gd name="connsiteY4" fmla="*/ 23269 h 57537"/>
                <a:gd name="connsiteX5" fmla="*/ 37992 w 51595"/>
                <a:gd name="connsiteY5" fmla="*/ 30968 h 57537"/>
                <a:gd name="connsiteX6" fmla="*/ 31529 w 51595"/>
                <a:gd name="connsiteY6" fmla="*/ 46703 h 57537"/>
                <a:gd name="connsiteX7" fmla="*/ 28724 w 51595"/>
                <a:gd name="connsiteY7" fmla="*/ 48817 h 57537"/>
                <a:gd name="connsiteX8" fmla="*/ 22693 w 51595"/>
                <a:gd name="connsiteY8" fmla="*/ 48817 h 57537"/>
                <a:gd name="connsiteX9" fmla="*/ 19972 w 51595"/>
                <a:gd name="connsiteY9" fmla="*/ 46703 h 57537"/>
                <a:gd name="connsiteX10" fmla="*/ 12749 w 51595"/>
                <a:gd name="connsiteY10" fmla="*/ 29693 h 57537"/>
                <a:gd name="connsiteX11" fmla="*/ 10792 w 51595"/>
                <a:gd name="connsiteY11" fmla="*/ 23434 h 57537"/>
                <a:gd name="connsiteX12" fmla="*/ 10792 w 51595"/>
                <a:gd name="connsiteY12" fmla="*/ 55418 h 57537"/>
                <a:gd name="connsiteX13" fmla="*/ 8752 w 51595"/>
                <a:gd name="connsiteY13" fmla="*/ 57532 h 57537"/>
                <a:gd name="connsiteX14" fmla="*/ 2040 w 51595"/>
                <a:gd name="connsiteY14" fmla="*/ 57532 h 57537"/>
                <a:gd name="connsiteX15" fmla="*/ 0 w 51595"/>
                <a:gd name="connsiteY15" fmla="*/ 55418 h 57537"/>
                <a:gd name="connsiteX16" fmla="*/ 0 w 51595"/>
                <a:gd name="connsiteY16" fmla="*/ 2114 h 57537"/>
                <a:gd name="connsiteX17" fmla="*/ 2040 w 51595"/>
                <a:gd name="connsiteY17" fmla="*/ 0 h 57537"/>
                <a:gd name="connsiteX18" fmla="*/ 8752 w 51595"/>
                <a:gd name="connsiteY18" fmla="*/ 0 h 57537"/>
                <a:gd name="connsiteX19" fmla="*/ 10620 w 51595"/>
                <a:gd name="connsiteY19" fmla="*/ 1187 h 57537"/>
                <a:gd name="connsiteX20" fmla="*/ 23624 w 51595"/>
                <a:gd name="connsiteY20" fmla="*/ 30714 h 57537"/>
                <a:gd name="connsiteX21" fmla="*/ 25747 w 51595"/>
                <a:gd name="connsiteY21" fmla="*/ 36637 h 57537"/>
                <a:gd name="connsiteX22" fmla="*/ 27953 w 51595"/>
                <a:gd name="connsiteY22" fmla="*/ 30797 h 57537"/>
                <a:gd name="connsiteX23" fmla="*/ 40530 w 51595"/>
                <a:gd name="connsiteY23" fmla="*/ 1016 h 57537"/>
                <a:gd name="connsiteX24" fmla="*/ 42487 w 51595"/>
                <a:gd name="connsiteY24" fmla="*/ 0 h 57537"/>
                <a:gd name="connsiteX25" fmla="*/ 49543 w 51595"/>
                <a:gd name="connsiteY25" fmla="*/ 0 h 57537"/>
                <a:gd name="connsiteX26" fmla="*/ 51583 w 51595"/>
                <a:gd name="connsiteY26" fmla="*/ 2114 h 57537"/>
                <a:gd name="connsiteX27" fmla="*/ 51583 w 51595"/>
                <a:gd name="connsiteY27" fmla="*/ 55418 h 5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1595" h="57537">
                  <a:moveTo>
                    <a:pt x="51595" y="55424"/>
                  </a:moveTo>
                  <a:cubicBezTo>
                    <a:pt x="51595" y="56865"/>
                    <a:pt x="51085" y="57538"/>
                    <a:pt x="49555" y="57538"/>
                  </a:cubicBezTo>
                  <a:lnTo>
                    <a:pt x="42499" y="57538"/>
                  </a:lnTo>
                  <a:cubicBezTo>
                    <a:pt x="40969" y="57538"/>
                    <a:pt x="40459" y="56865"/>
                    <a:pt x="40459" y="55424"/>
                  </a:cubicBezTo>
                  <a:lnTo>
                    <a:pt x="40459" y="23269"/>
                  </a:lnTo>
                  <a:cubicBezTo>
                    <a:pt x="40376" y="23523"/>
                    <a:pt x="38846" y="28683"/>
                    <a:pt x="37992" y="30968"/>
                  </a:cubicBezTo>
                  <a:lnTo>
                    <a:pt x="31529" y="46703"/>
                  </a:lnTo>
                  <a:cubicBezTo>
                    <a:pt x="30936" y="48056"/>
                    <a:pt x="30171" y="48817"/>
                    <a:pt x="28724" y="48817"/>
                  </a:cubicBezTo>
                  <a:lnTo>
                    <a:pt x="22693" y="48817"/>
                  </a:lnTo>
                  <a:cubicBezTo>
                    <a:pt x="21246" y="48817"/>
                    <a:pt x="20487" y="47973"/>
                    <a:pt x="19972" y="46703"/>
                  </a:cubicBezTo>
                  <a:lnTo>
                    <a:pt x="12749" y="29693"/>
                  </a:lnTo>
                  <a:cubicBezTo>
                    <a:pt x="11895" y="27916"/>
                    <a:pt x="10881" y="24025"/>
                    <a:pt x="10792" y="23434"/>
                  </a:cubicBezTo>
                  <a:lnTo>
                    <a:pt x="10792" y="55418"/>
                  </a:lnTo>
                  <a:cubicBezTo>
                    <a:pt x="10792" y="56859"/>
                    <a:pt x="10282" y="57532"/>
                    <a:pt x="8752" y="57532"/>
                  </a:cubicBezTo>
                  <a:lnTo>
                    <a:pt x="2040" y="57532"/>
                  </a:lnTo>
                  <a:cubicBezTo>
                    <a:pt x="510" y="57532"/>
                    <a:pt x="0" y="56859"/>
                    <a:pt x="0" y="55418"/>
                  </a:cubicBezTo>
                  <a:lnTo>
                    <a:pt x="0" y="2114"/>
                  </a:lnTo>
                  <a:cubicBezTo>
                    <a:pt x="0" y="673"/>
                    <a:pt x="510" y="0"/>
                    <a:pt x="2040" y="0"/>
                  </a:cubicBezTo>
                  <a:lnTo>
                    <a:pt x="8752" y="0"/>
                  </a:lnTo>
                  <a:cubicBezTo>
                    <a:pt x="9855" y="0"/>
                    <a:pt x="10276" y="425"/>
                    <a:pt x="10620" y="1187"/>
                  </a:cubicBezTo>
                  <a:lnTo>
                    <a:pt x="23624" y="30714"/>
                  </a:lnTo>
                  <a:cubicBezTo>
                    <a:pt x="24644" y="32999"/>
                    <a:pt x="25747" y="36637"/>
                    <a:pt x="25747" y="36637"/>
                  </a:cubicBezTo>
                  <a:cubicBezTo>
                    <a:pt x="25747" y="36637"/>
                    <a:pt x="26850" y="33336"/>
                    <a:pt x="27953" y="30797"/>
                  </a:cubicBezTo>
                  <a:lnTo>
                    <a:pt x="40530" y="1016"/>
                  </a:lnTo>
                  <a:cubicBezTo>
                    <a:pt x="40874" y="254"/>
                    <a:pt x="41467" y="0"/>
                    <a:pt x="42487" y="0"/>
                  </a:cubicBezTo>
                  <a:lnTo>
                    <a:pt x="49543" y="0"/>
                  </a:lnTo>
                  <a:cubicBezTo>
                    <a:pt x="51073" y="0"/>
                    <a:pt x="51583" y="679"/>
                    <a:pt x="51583" y="2114"/>
                  </a:cubicBezTo>
                  <a:lnTo>
                    <a:pt x="51583" y="5541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2851F51-06B6-EB15-9266-6E3081CFFE37}"/>
                </a:ext>
              </a:extLst>
            </p:cNvPr>
            <p:cNvSpPr/>
            <p:nvPr/>
          </p:nvSpPr>
          <p:spPr>
            <a:xfrm>
              <a:off x="11307122" y="6721391"/>
              <a:ext cx="38532" cy="42133"/>
            </a:xfrm>
            <a:custGeom>
              <a:avLst/>
              <a:gdLst>
                <a:gd name="connsiteX0" fmla="*/ 38175 w 38532"/>
                <a:gd name="connsiteY0" fmla="*/ 40020 h 42133"/>
                <a:gd name="connsiteX1" fmla="*/ 37072 w 38532"/>
                <a:gd name="connsiteY1" fmla="*/ 42133 h 42133"/>
                <a:gd name="connsiteX2" fmla="*/ 29423 w 38532"/>
                <a:gd name="connsiteY2" fmla="*/ 42133 h 42133"/>
                <a:gd name="connsiteX3" fmla="*/ 26446 w 38532"/>
                <a:gd name="connsiteY3" fmla="*/ 40020 h 42133"/>
                <a:gd name="connsiteX4" fmla="*/ 18631 w 38532"/>
                <a:gd name="connsiteY4" fmla="*/ 28512 h 42133"/>
                <a:gd name="connsiteX5" fmla="*/ 11153 w 38532"/>
                <a:gd name="connsiteY5" fmla="*/ 40020 h 42133"/>
                <a:gd name="connsiteX6" fmla="*/ 8176 w 38532"/>
                <a:gd name="connsiteY6" fmla="*/ 42133 h 42133"/>
                <a:gd name="connsiteX7" fmla="*/ 1375 w 38532"/>
                <a:gd name="connsiteY7" fmla="*/ 42133 h 42133"/>
                <a:gd name="connsiteX8" fmla="*/ 361 w 38532"/>
                <a:gd name="connsiteY8" fmla="*/ 40020 h 42133"/>
                <a:gd name="connsiteX9" fmla="*/ 13365 w 38532"/>
                <a:gd name="connsiteY9" fmla="*/ 20648 h 42133"/>
                <a:gd name="connsiteX10" fmla="*/ 954 w 38532"/>
                <a:gd name="connsiteY10" fmla="*/ 2114 h 42133"/>
                <a:gd name="connsiteX11" fmla="*/ 1974 w 38532"/>
                <a:gd name="connsiteY11" fmla="*/ 0 h 42133"/>
                <a:gd name="connsiteX12" fmla="*/ 9623 w 38532"/>
                <a:gd name="connsiteY12" fmla="*/ 0 h 42133"/>
                <a:gd name="connsiteX13" fmla="*/ 12766 w 38532"/>
                <a:gd name="connsiteY13" fmla="*/ 2114 h 42133"/>
                <a:gd name="connsiteX14" fmla="*/ 20161 w 38532"/>
                <a:gd name="connsiteY14" fmla="*/ 13114 h 42133"/>
                <a:gd name="connsiteX15" fmla="*/ 27128 w 38532"/>
                <a:gd name="connsiteY15" fmla="*/ 2114 h 42133"/>
                <a:gd name="connsiteX16" fmla="*/ 30188 w 38532"/>
                <a:gd name="connsiteY16" fmla="*/ 0 h 42133"/>
                <a:gd name="connsiteX17" fmla="*/ 36989 w 38532"/>
                <a:gd name="connsiteY17" fmla="*/ 0 h 42133"/>
                <a:gd name="connsiteX18" fmla="*/ 38009 w 38532"/>
                <a:gd name="connsiteY18" fmla="*/ 2114 h 42133"/>
                <a:gd name="connsiteX19" fmla="*/ 25438 w 38532"/>
                <a:gd name="connsiteY19" fmla="*/ 20984 h 42133"/>
                <a:gd name="connsiteX20" fmla="*/ 38181 w 38532"/>
                <a:gd name="connsiteY20" fmla="*/ 40020 h 42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532" h="42133">
                  <a:moveTo>
                    <a:pt x="38175" y="40020"/>
                  </a:moveTo>
                  <a:cubicBezTo>
                    <a:pt x="38857" y="41035"/>
                    <a:pt x="38602" y="42133"/>
                    <a:pt x="37072" y="42133"/>
                  </a:cubicBezTo>
                  <a:lnTo>
                    <a:pt x="29423" y="42133"/>
                  </a:lnTo>
                  <a:cubicBezTo>
                    <a:pt x="27976" y="42133"/>
                    <a:pt x="27128" y="41035"/>
                    <a:pt x="26446" y="40020"/>
                  </a:cubicBezTo>
                  <a:lnTo>
                    <a:pt x="18631" y="28512"/>
                  </a:lnTo>
                  <a:lnTo>
                    <a:pt x="11153" y="40020"/>
                  </a:lnTo>
                  <a:cubicBezTo>
                    <a:pt x="10471" y="41035"/>
                    <a:pt x="9706" y="42133"/>
                    <a:pt x="8176" y="42133"/>
                  </a:cubicBezTo>
                  <a:lnTo>
                    <a:pt x="1375" y="42133"/>
                  </a:lnTo>
                  <a:cubicBezTo>
                    <a:pt x="-66" y="42133"/>
                    <a:pt x="-321" y="41035"/>
                    <a:pt x="361" y="40020"/>
                  </a:cubicBezTo>
                  <a:lnTo>
                    <a:pt x="13365" y="20648"/>
                  </a:lnTo>
                  <a:lnTo>
                    <a:pt x="954" y="2114"/>
                  </a:lnTo>
                  <a:cubicBezTo>
                    <a:pt x="189" y="1016"/>
                    <a:pt x="444" y="0"/>
                    <a:pt x="1974" y="0"/>
                  </a:cubicBezTo>
                  <a:lnTo>
                    <a:pt x="9623" y="0"/>
                  </a:lnTo>
                  <a:cubicBezTo>
                    <a:pt x="11153" y="0"/>
                    <a:pt x="11918" y="933"/>
                    <a:pt x="12766" y="2114"/>
                  </a:cubicBezTo>
                  <a:lnTo>
                    <a:pt x="20161" y="13114"/>
                  </a:lnTo>
                  <a:lnTo>
                    <a:pt x="27128" y="2114"/>
                  </a:lnTo>
                  <a:cubicBezTo>
                    <a:pt x="27893" y="927"/>
                    <a:pt x="28741" y="0"/>
                    <a:pt x="30188" y="0"/>
                  </a:cubicBezTo>
                  <a:lnTo>
                    <a:pt x="36989" y="0"/>
                  </a:lnTo>
                  <a:cubicBezTo>
                    <a:pt x="38436" y="0"/>
                    <a:pt x="38774" y="1016"/>
                    <a:pt x="38009" y="2114"/>
                  </a:cubicBezTo>
                  <a:lnTo>
                    <a:pt x="25438" y="20984"/>
                  </a:lnTo>
                  <a:lnTo>
                    <a:pt x="38181" y="4002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440DD8A-BD65-4D21-EB38-23223BCAEE28}"/>
                </a:ext>
              </a:extLst>
            </p:cNvPr>
            <p:cNvSpPr/>
            <p:nvPr/>
          </p:nvSpPr>
          <p:spPr>
            <a:xfrm>
              <a:off x="11351921" y="6704381"/>
              <a:ext cx="11136" cy="59149"/>
            </a:xfrm>
            <a:custGeom>
              <a:avLst/>
              <a:gdLst>
                <a:gd name="connsiteX0" fmla="*/ 11136 w 11136"/>
                <a:gd name="connsiteY0" fmla="*/ 9476 h 59149"/>
                <a:gd name="connsiteX1" fmla="*/ 9179 w 11136"/>
                <a:gd name="connsiteY1" fmla="*/ 11508 h 59149"/>
                <a:gd name="connsiteX2" fmla="*/ 2129 w 11136"/>
                <a:gd name="connsiteY2" fmla="*/ 11508 h 59149"/>
                <a:gd name="connsiteX3" fmla="*/ 0 w 11136"/>
                <a:gd name="connsiteY3" fmla="*/ 9476 h 59149"/>
                <a:gd name="connsiteX4" fmla="*/ 0 w 11136"/>
                <a:gd name="connsiteY4" fmla="*/ 2202 h 59149"/>
                <a:gd name="connsiteX5" fmla="*/ 2129 w 11136"/>
                <a:gd name="connsiteY5" fmla="*/ 0 h 59149"/>
                <a:gd name="connsiteX6" fmla="*/ 9179 w 11136"/>
                <a:gd name="connsiteY6" fmla="*/ 0 h 59149"/>
                <a:gd name="connsiteX7" fmla="*/ 11136 w 11136"/>
                <a:gd name="connsiteY7" fmla="*/ 2202 h 59149"/>
                <a:gd name="connsiteX8" fmla="*/ 11136 w 11136"/>
                <a:gd name="connsiteY8" fmla="*/ 9476 h 59149"/>
                <a:gd name="connsiteX9" fmla="*/ 11136 w 11136"/>
                <a:gd name="connsiteY9" fmla="*/ 56948 h 59149"/>
                <a:gd name="connsiteX10" fmla="*/ 9179 w 11136"/>
                <a:gd name="connsiteY10" fmla="*/ 59150 h 59149"/>
                <a:gd name="connsiteX11" fmla="*/ 2129 w 11136"/>
                <a:gd name="connsiteY11" fmla="*/ 59150 h 59149"/>
                <a:gd name="connsiteX12" fmla="*/ 0 w 11136"/>
                <a:gd name="connsiteY12" fmla="*/ 56948 h 59149"/>
                <a:gd name="connsiteX13" fmla="*/ 0 w 11136"/>
                <a:gd name="connsiteY13" fmla="*/ 19124 h 59149"/>
                <a:gd name="connsiteX14" fmla="*/ 2129 w 11136"/>
                <a:gd name="connsiteY14" fmla="*/ 17005 h 59149"/>
                <a:gd name="connsiteX15" fmla="*/ 9179 w 11136"/>
                <a:gd name="connsiteY15" fmla="*/ 17005 h 59149"/>
                <a:gd name="connsiteX16" fmla="*/ 11136 w 11136"/>
                <a:gd name="connsiteY16" fmla="*/ 19124 h 59149"/>
                <a:gd name="connsiteX17" fmla="*/ 11136 w 11136"/>
                <a:gd name="connsiteY17" fmla="*/ 56948 h 5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136" h="59149">
                  <a:moveTo>
                    <a:pt x="11136" y="9476"/>
                  </a:moveTo>
                  <a:cubicBezTo>
                    <a:pt x="11136" y="10917"/>
                    <a:pt x="10626" y="11508"/>
                    <a:pt x="9179" y="11508"/>
                  </a:cubicBezTo>
                  <a:lnTo>
                    <a:pt x="2129" y="11508"/>
                  </a:lnTo>
                  <a:cubicBezTo>
                    <a:pt x="599" y="11508"/>
                    <a:pt x="0" y="10911"/>
                    <a:pt x="0" y="9476"/>
                  </a:cubicBezTo>
                  <a:lnTo>
                    <a:pt x="0" y="2202"/>
                  </a:lnTo>
                  <a:cubicBezTo>
                    <a:pt x="0" y="679"/>
                    <a:pt x="599" y="0"/>
                    <a:pt x="2129" y="0"/>
                  </a:cubicBezTo>
                  <a:lnTo>
                    <a:pt x="9179" y="0"/>
                  </a:lnTo>
                  <a:cubicBezTo>
                    <a:pt x="10626" y="0"/>
                    <a:pt x="11136" y="679"/>
                    <a:pt x="11136" y="2202"/>
                  </a:cubicBezTo>
                  <a:lnTo>
                    <a:pt x="11136" y="9476"/>
                  </a:lnTo>
                  <a:close/>
                  <a:moveTo>
                    <a:pt x="11136" y="56948"/>
                  </a:moveTo>
                  <a:cubicBezTo>
                    <a:pt x="11136" y="58471"/>
                    <a:pt x="10626" y="59150"/>
                    <a:pt x="9179" y="59150"/>
                  </a:cubicBezTo>
                  <a:lnTo>
                    <a:pt x="2129" y="59150"/>
                  </a:lnTo>
                  <a:cubicBezTo>
                    <a:pt x="599" y="59150"/>
                    <a:pt x="0" y="58477"/>
                    <a:pt x="0" y="56948"/>
                  </a:cubicBezTo>
                  <a:lnTo>
                    <a:pt x="0" y="19124"/>
                  </a:lnTo>
                  <a:cubicBezTo>
                    <a:pt x="0" y="17601"/>
                    <a:pt x="599" y="17005"/>
                    <a:pt x="2129" y="17005"/>
                  </a:cubicBezTo>
                  <a:lnTo>
                    <a:pt x="9179" y="17005"/>
                  </a:lnTo>
                  <a:cubicBezTo>
                    <a:pt x="10626" y="17005"/>
                    <a:pt x="11136" y="17595"/>
                    <a:pt x="11136" y="19124"/>
                  </a:cubicBezTo>
                  <a:lnTo>
                    <a:pt x="11136" y="5694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1045499E-CF0B-4D84-28AD-A74B8EE0C9F6}"/>
                </a:ext>
              </a:extLst>
            </p:cNvPr>
            <p:cNvSpPr/>
            <p:nvPr/>
          </p:nvSpPr>
          <p:spPr>
            <a:xfrm>
              <a:off x="11372319" y="6720724"/>
              <a:ext cx="34926" cy="43485"/>
            </a:xfrm>
            <a:custGeom>
              <a:avLst/>
              <a:gdLst>
                <a:gd name="connsiteX0" fmla="*/ 34926 w 34926"/>
                <a:gd name="connsiteY0" fmla="*/ 12429 h 43485"/>
                <a:gd name="connsiteX1" fmla="*/ 34926 w 34926"/>
                <a:gd name="connsiteY1" fmla="*/ 13869 h 43485"/>
                <a:gd name="connsiteX2" fmla="*/ 32887 w 34926"/>
                <a:gd name="connsiteY2" fmla="*/ 15900 h 43485"/>
                <a:gd name="connsiteX3" fmla="*/ 26340 w 34926"/>
                <a:gd name="connsiteY3" fmla="*/ 15900 h 43485"/>
                <a:gd name="connsiteX4" fmla="*/ 24211 w 34926"/>
                <a:gd name="connsiteY4" fmla="*/ 13869 h 43485"/>
                <a:gd name="connsiteX5" fmla="*/ 24211 w 34926"/>
                <a:gd name="connsiteY5" fmla="*/ 13279 h 43485"/>
                <a:gd name="connsiteX6" fmla="*/ 17671 w 34926"/>
                <a:gd name="connsiteY6" fmla="*/ 8797 h 43485"/>
                <a:gd name="connsiteX7" fmla="*/ 11124 w 34926"/>
                <a:gd name="connsiteY7" fmla="*/ 13279 h 43485"/>
                <a:gd name="connsiteX8" fmla="*/ 11124 w 34926"/>
                <a:gd name="connsiteY8" fmla="*/ 30118 h 43485"/>
                <a:gd name="connsiteX9" fmla="*/ 17671 w 34926"/>
                <a:gd name="connsiteY9" fmla="*/ 34688 h 43485"/>
                <a:gd name="connsiteX10" fmla="*/ 24211 w 34926"/>
                <a:gd name="connsiteY10" fmla="*/ 30118 h 43485"/>
                <a:gd name="connsiteX11" fmla="*/ 24211 w 34926"/>
                <a:gd name="connsiteY11" fmla="*/ 28849 h 43485"/>
                <a:gd name="connsiteX12" fmla="*/ 26340 w 34926"/>
                <a:gd name="connsiteY12" fmla="*/ 26735 h 43485"/>
                <a:gd name="connsiteX13" fmla="*/ 32887 w 34926"/>
                <a:gd name="connsiteY13" fmla="*/ 26735 h 43485"/>
                <a:gd name="connsiteX14" fmla="*/ 34926 w 34926"/>
                <a:gd name="connsiteY14" fmla="*/ 28849 h 43485"/>
                <a:gd name="connsiteX15" fmla="*/ 34926 w 34926"/>
                <a:gd name="connsiteY15" fmla="*/ 30962 h 43485"/>
                <a:gd name="connsiteX16" fmla="*/ 17416 w 34926"/>
                <a:gd name="connsiteY16" fmla="*/ 43486 h 43485"/>
                <a:gd name="connsiteX17" fmla="*/ 0 w 34926"/>
                <a:gd name="connsiteY17" fmla="*/ 30962 h 43485"/>
                <a:gd name="connsiteX18" fmla="*/ 0 w 34926"/>
                <a:gd name="connsiteY18" fmla="*/ 12435 h 43485"/>
                <a:gd name="connsiteX19" fmla="*/ 17505 w 34926"/>
                <a:gd name="connsiteY19" fmla="*/ 0 h 43485"/>
                <a:gd name="connsiteX20" fmla="*/ 34926 w 34926"/>
                <a:gd name="connsiteY20" fmla="*/ 12435 h 4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926" h="43485">
                  <a:moveTo>
                    <a:pt x="34926" y="12429"/>
                  </a:moveTo>
                  <a:lnTo>
                    <a:pt x="34926" y="13869"/>
                  </a:lnTo>
                  <a:cubicBezTo>
                    <a:pt x="34926" y="15393"/>
                    <a:pt x="34328" y="15900"/>
                    <a:pt x="32887" y="15900"/>
                  </a:cubicBezTo>
                  <a:lnTo>
                    <a:pt x="26340" y="15900"/>
                  </a:lnTo>
                  <a:cubicBezTo>
                    <a:pt x="24810" y="15900"/>
                    <a:pt x="24211" y="15393"/>
                    <a:pt x="24211" y="13869"/>
                  </a:cubicBezTo>
                  <a:lnTo>
                    <a:pt x="24211" y="13279"/>
                  </a:lnTo>
                  <a:cubicBezTo>
                    <a:pt x="24211" y="10150"/>
                    <a:pt x="22509" y="8797"/>
                    <a:pt x="17671" y="8797"/>
                  </a:cubicBezTo>
                  <a:cubicBezTo>
                    <a:pt x="12832" y="8797"/>
                    <a:pt x="11124" y="10150"/>
                    <a:pt x="11124" y="13279"/>
                  </a:cubicBezTo>
                  <a:lnTo>
                    <a:pt x="11124" y="30118"/>
                  </a:lnTo>
                  <a:cubicBezTo>
                    <a:pt x="11124" y="33247"/>
                    <a:pt x="12826" y="34688"/>
                    <a:pt x="17671" y="34688"/>
                  </a:cubicBezTo>
                  <a:cubicBezTo>
                    <a:pt x="22515" y="34688"/>
                    <a:pt x="24211" y="33247"/>
                    <a:pt x="24211" y="30118"/>
                  </a:cubicBezTo>
                  <a:lnTo>
                    <a:pt x="24211" y="28849"/>
                  </a:lnTo>
                  <a:cubicBezTo>
                    <a:pt x="24211" y="27325"/>
                    <a:pt x="24810" y="26735"/>
                    <a:pt x="26340" y="26735"/>
                  </a:cubicBezTo>
                  <a:lnTo>
                    <a:pt x="32887" y="26735"/>
                  </a:lnTo>
                  <a:cubicBezTo>
                    <a:pt x="34328" y="26735"/>
                    <a:pt x="34926" y="27325"/>
                    <a:pt x="34926" y="28849"/>
                  </a:cubicBezTo>
                  <a:lnTo>
                    <a:pt x="34926" y="30962"/>
                  </a:lnTo>
                  <a:cubicBezTo>
                    <a:pt x="34926" y="38579"/>
                    <a:pt x="29827" y="43486"/>
                    <a:pt x="17416" y="43486"/>
                  </a:cubicBezTo>
                  <a:cubicBezTo>
                    <a:pt x="5005" y="43486"/>
                    <a:pt x="0" y="38579"/>
                    <a:pt x="0" y="30962"/>
                  </a:cubicBezTo>
                  <a:lnTo>
                    <a:pt x="0" y="12435"/>
                  </a:lnTo>
                  <a:cubicBezTo>
                    <a:pt x="0" y="4907"/>
                    <a:pt x="5011" y="0"/>
                    <a:pt x="17505" y="0"/>
                  </a:cubicBezTo>
                  <a:cubicBezTo>
                    <a:pt x="29999" y="0"/>
                    <a:pt x="34926" y="4907"/>
                    <a:pt x="34926" y="12435"/>
                  </a:cubicBezTo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69F300E6-F9B2-8CD1-4DB7-0D7C23812F51}"/>
                </a:ext>
              </a:extLst>
            </p:cNvPr>
            <p:cNvSpPr/>
            <p:nvPr/>
          </p:nvSpPr>
          <p:spPr>
            <a:xfrm>
              <a:off x="11414124" y="6720718"/>
              <a:ext cx="36711" cy="43485"/>
            </a:xfrm>
            <a:custGeom>
              <a:avLst/>
              <a:gdLst>
                <a:gd name="connsiteX0" fmla="*/ 0 w 36711"/>
                <a:gd name="connsiteY0" fmla="*/ 12435 h 43485"/>
                <a:gd name="connsiteX1" fmla="*/ 18353 w 36711"/>
                <a:gd name="connsiteY1" fmla="*/ 0 h 43485"/>
                <a:gd name="connsiteX2" fmla="*/ 36711 w 36711"/>
                <a:gd name="connsiteY2" fmla="*/ 12435 h 43485"/>
                <a:gd name="connsiteX3" fmla="*/ 36711 w 36711"/>
                <a:gd name="connsiteY3" fmla="*/ 30962 h 43485"/>
                <a:gd name="connsiteX4" fmla="*/ 18353 w 36711"/>
                <a:gd name="connsiteY4" fmla="*/ 43486 h 43485"/>
                <a:gd name="connsiteX5" fmla="*/ 0 w 36711"/>
                <a:gd name="connsiteY5" fmla="*/ 30962 h 43485"/>
                <a:gd name="connsiteX6" fmla="*/ 0 w 36711"/>
                <a:gd name="connsiteY6" fmla="*/ 12435 h 43485"/>
                <a:gd name="connsiteX7" fmla="*/ 25581 w 36711"/>
                <a:gd name="connsiteY7" fmla="*/ 13367 h 43485"/>
                <a:gd name="connsiteX8" fmla="*/ 18359 w 36711"/>
                <a:gd name="connsiteY8" fmla="*/ 8797 h 43485"/>
                <a:gd name="connsiteX9" fmla="*/ 11136 w 36711"/>
                <a:gd name="connsiteY9" fmla="*/ 13367 h 43485"/>
                <a:gd name="connsiteX10" fmla="*/ 11136 w 36711"/>
                <a:gd name="connsiteY10" fmla="*/ 30035 h 43485"/>
                <a:gd name="connsiteX11" fmla="*/ 18359 w 36711"/>
                <a:gd name="connsiteY11" fmla="*/ 34688 h 43485"/>
                <a:gd name="connsiteX12" fmla="*/ 25581 w 36711"/>
                <a:gd name="connsiteY12" fmla="*/ 30035 h 43485"/>
                <a:gd name="connsiteX13" fmla="*/ 25581 w 36711"/>
                <a:gd name="connsiteY13" fmla="*/ 13367 h 4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711" h="43485">
                  <a:moveTo>
                    <a:pt x="0" y="12435"/>
                  </a:moveTo>
                  <a:cubicBezTo>
                    <a:pt x="0" y="4907"/>
                    <a:pt x="5865" y="0"/>
                    <a:pt x="18353" y="0"/>
                  </a:cubicBezTo>
                  <a:cubicBezTo>
                    <a:pt x="30841" y="0"/>
                    <a:pt x="36711" y="4907"/>
                    <a:pt x="36711" y="12435"/>
                  </a:cubicBezTo>
                  <a:lnTo>
                    <a:pt x="36711" y="30962"/>
                  </a:lnTo>
                  <a:cubicBezTo>
                    <a:pt x="36711" y="38579"/>
                    <a:pt x="30847" y="43486"/>
                    <a:pt x="18353" y="43486"/>
                  </a:cubicBezTo>
                  <a:cubicBezTo>
                    <a:pt x="5859" y="43486"/>
                    <a:pt x="0" y="38579"/>
                    <a:pt x="0" y="30962"/>
                  </a:cubicBezTo>
                  <a:lnTo>
                    <a:pt x="0" y="12435"/>
                  </a:lnTo>
                  <a:close/>
                  <a:moveTo>
                    <a:pt x="25581" y="13367"/>
                  </a:moveTo>
                  <a:cubicBezTo>
                    <a:pt x="25581" y="10238"/>
                    <a:pt x="23114" y="8797"/>
                    <a:pt x="18359" y="8797"/>
                  </a:cubicBezTo>
                  <a:cubicBezTo>
                    <a:pt x="13603" y="8797"/>
                    <a:pt x="11136" y="10238"/>
                    <a:pt x="11136" y="13367"/>
                  </a:cubicBezTo>
                  <a:lnTo>
                    <a:pt x="11136" y="30035"/>
                  </a:lnTo>
                  <a:cubicBezTo>
                    <a:pt x="11136" y="33247"/>
                    <a:pt x="13603" y="34688"/>
                    <a:pt x="18359" y="34688"/>
                  </a:cubicBezTo>
                  <a:cubicBezTo>
                    <a:pt x="23114" y="34688"/>
                    <a:pt x="25581" y="33247"/>
                    <a:pt x="25581" y="30035"/>
                  </a:cubicBezTo>
                  <a:lnTo>
                    <a:pt x="25581" y="13367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DDF5F94C-2530-08F1-C54C-EAC73CFA7D56}"/>
                </a:ext>
              </a:extLst>
            </p:cNvPr>
            <p:cNvSpPr/>
            <p:nvPr/>
          </p:nvSpPr>
          <p:spPr>
            <a:xfrm>
              <a:off x="11268560" y="6703625"/>
              <a:ext cx="34499" cy="60578"/>
            </a:xfrm>
            <a:custGeom>
              <a:avLst/>
              <a:gdLst>
                <a:gd name="connsiteX0" fmla="*/ 34499 w 34499"/>
                <a:gd name="connsiteY0" fmla="*/ 39341 h 60578"/>
                <a:gd name="connsiteX1" fmla="*/ 32632 w 34499"/>
                <a:gd name="connsiteY1" fmla="*/ 41289 h 60578"/>
                <a:gd name="connsiteX2" fmla="*/ 10875 w 34499"/>
                <a:gd name="connsiteY2" fmla="*/ 41289 h 60578"/>
                <a:gd name="connsiteX3" fmla="*/ 10875 w 34499"/>
                <a:gd name="connsiteY3" fmla="*/ 47548 h 60578"/>
                <a:gd name="connsiteX4" fmla="*/ 17505 w 34499"/>
                <a:gd name="connsiteY4" fmla="*/ 52200 h 60578"/>
                <a:gd name="connsiteX5" fmla="*/ 24134 w 34499"/>
                <a:gd name="connsiteY5" fmla="*/ 47548 h 60578"/>
                <a:gd name="connsiteX6" fmla="*/ 24134 w 34499"/>
                <a:gd name="connsiteY6" fmla="*/ 47129 h 60578"/>
                <a:gd name="connsiteX7" fmla="*/ 26263 w 34499"/>
                <a:gd name="connsiteY7" fmla="*/ 45015 h 60578"/>
                <a:gd name="connsiteX8" fmla="*/ 32211 w 34499"/>
                <a:gd name="connsiteY8" fmla="*/ 45015 h 60578"/>
                <a:gd name="connsiteX9" fmla="*/ 34333 w 34499"/>
                <a:gd name="connsiteY9" fmla="*/ 47129 h 60578"/>
                <a:gd name="connsiteX10" fmla="*/ 34333 w 34499"/>
                <a:gd name="connsiteY10" fmla="*/ 48061 h 60578"/>
                <a:gd name="connsiteX11" fmla="*/ 17422 w 34499"/>
                <a:gd name="connsiteY11" fmla="*/ 60579 h 60578"/>
                <a:gd name="connsiteX12" fmla="*/ 0 w 34499"/>
                <a:gd name="connsiteY12" fmla="*/ 48061 h 60578"/>
                <a:gd name="connsiteX13" fmla="*/ 0 w 34499"/>
                <a:gd name="connsiteY13" fmla="*/ 29534 h 60578"/>
                <a:gd name="connsiteX14" fmla="*/ 17505 w 34499"/>
                <a:gd name="connsiteY14" fmla="*/ 17099 h 60578"/>
                <a:gd name="connsiteX15" fmla="*/ 34499 w 34499"/>
                <a:gd name="connsiteY15" fmla="*/ 29534 h 60578"/>
                <a:gd name="connsiteX16" fmla="*/ 34499 w 34499"/>
                <a:gd name="connsiteY16" fmla="*/ 39347 h 60578"/>
                <a:gd name="connsiteX17" fmla="*/ 10881 w 34499"/>
                <a:gd name="connsiteY17" fmla="*/ 33844 h 60578"/>
                <a:gd name="connsiteX18" fmla="*/ 24134 w 34499"/>
                <a:gd name="connsiteY18" fmla="*/ 33844 h 60578"/>
                <a:gd name="connsiteX19" fmla="*/ 24134 w 34499"/>
                <a:gd name="connsiteY19" fmla="*/ 30118 h 60578"/>
                <a:gd name="connsiteX20" fmla="*/ 17505 w 34499"/>
                <a:gd name="connsiteY20" fmla="*/ 25465 h 60578"/>
                <a:gd name="connsiteX21" fmla="*/ 10875 w 34499"/>
                <a:gd name="connsiteY21" fmla="*/ 30118 h 60578"/>
                <a:gd name="connsiteX22" fmla="*/ 10875 w 34499"/>
                <a:gd name="connsiteY22" fmla="*/ 33844 h 60578"/>
                <a:gd name="connsiteX23" fmla="*/ 21667 w 34499"/>
                <a:gd name="connsiteY23" fmla="*/ 11082 h 60578"/>
                <a:gd name="connsiteX24" fmla="*/ 18946 w 34499"/>
                <a:gd name="connsiteY24" fmla="*/ 12523 h 60578"/>
                <a:gd name="connsiteX25" fmla="*/ 13425 w 34499"/>
                <a:gd name="connsiteY25" fmla="*/ 12523 h 60578"/>
                <a:gd name="connsiteX26" fmla="*/ 12322 w 34499"/>
                <a:gd name="connsiteY26" fmla="*/ 10409 h 60578"/>
                <a:gd name="connsiteX27" fmla="*/ 16402 w 34499"/>
                <a:gd name="connsiteY27" fmla="*/ 2114 h 60578"/>
                <a:gd name="connsiteX28" fmla="*/ 19373 w 34499"/>
                <a:gd name="connsiteY28" fmla="*/ 0 h 60578"/>
                <a:gd name="connsiteX29" fmla="*/ 26767 w 34499"/>
                <a:gd name="connsiteY29" fmla="*/ 0 h 60578"/>
                <a:gd name="connsiteX30" fmla="*/ 27787 w 34499"/>
                <a:gd name="connsiteY30" fmla="*/ 2114 h 60578"/>
                <a:gd name="connsiteX31" fmla="*/ 21667 w 34499"/>
                <a:gd name="connsiteY31" fmla="*/ 11082 h 6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4499" h="60578">
                  <a:moveTo>
                    <a:pt x="34499" y="39341"/>
                  </a:moveTo>
                  <a:cubicBezTo>
                    <a:pt x="34499" y="40693"/>
                    <a:pt x="33990" y="41289"/>
                    <a:pt x="32632" y="41289"/>
                  </a:cubicBezTo>
                  <a:lnTo>
                    <a:pt x="10875" y="41289"/>
                  </a:lnTo>
                  <a:lnTo>
                    <a:pt x="10875" y="47548"/>
                  </a:lnTo>
                  <a:cubicBezTo>
                    <a:pt x="10875" y="50506"/>
                    <a:pt x="12488" y="52200"/>
                    <a:pt x="17505" y="52200"/>
                  </a:cubicBezTo>
                  <a:cubicBezTo>
                    <a:pt x="22521" y="52200"/>
                    <a:pt x="24134" y="50506"/>
                    <a:pt x="24134" y="47548"/>
                  </a:cubicBezTo>
                  <a:lnTo>
                    <a:pt x="24134" y="47129"/>
                  </a:lnTo>
                  <a:cubicBezTo>
                    <a:pt x="24134" y="45688"/>
                    <a:pt x="24727" y="45015"/>
                    <a:pt x="26263" y="45015"/>
                  </a:cubicBezTo>
                  <a:lnTo>
                    <a:pt x="32211" y="45015"/>
                  </a:lnTo>
                  <a:cubicBezTo>
                    <a:pt x="33657" y="45015"/>
                    <a:pt x="34333" y="45694"/>
                    <a:pt x="34333" y="47129"/>
                  </a:cubicBezTo>
                  <a:lnTo>
                    <a:pt x="34333" y="48061"/>
                  </a:lnTo>
                  <a:cubicBezTo>
                    <a:pt x="34333" y="55678"/>
                    <a:pt x="29916" y="60579"/>
                    <a:pt x="17422" y="60579"/>
                  </a:cubicBezTo>
                  <a:cubicBezTo>
                    <a:pt x="4928" y="60579"/>
                    <a:pt x="0" y="55672"/>
                    <a:pt x="0" y="48061"/>
                  </a:cubicBezTo>
                  <a:lnTo>
                    <a:pt x="0" y="29534"/>
                  </a:lnTo>
                  <a:cubicBezTo>
                    <a:pt x="0" y="22006"/>
                    <a:pt x="5017" y="17099"/>
                    <a:pt x="17505" y="17099"/>
                  </a:cubicBezTo>
                  <a:cubicBezTo>
                    <a:pt x="29993" y="17099"/>
                    <a:pt x="34499" y="22006"/>
                    <a:pt x="34499" y="29534"/>
                  </a:cubicBezTo>
                  <a:lnTo>
                    <a:pt x="34499" y="39347"/>
                  </a:lnTo>
                  <a:close/>
                  <a:moveTo>
                    <a:pt x="10881" y="33844"/>
                  </a:moveTo>
                  <a:lnTo>
                    <a:pt x="24134" y="33844"/>
                  </a:lnTo>
                  <a:lnTo>
                    <a:pt x="24134" y="30118"/>
                  </a:lnTo>
                  <a:cubicBezTo>
                    <a:pt x="24134" y="27154"/>
                    <a:pt x="22266" y="25465"/>
                    <a:pt x="17505" y="25465"/>
                  </a:cubicBezTo>
                  <a:cubicBezTo>
                    <a:pt x="12743" y="25465"/>
                    <a:pt x="10875" y="27160"/>
                    <a:pt x="10875" y="30118"/>
                  </a:cubicBezTo>
                  <a:lnTo>
                    <a:pt x="10875" y="33844"/>
                  </a:lnTo>
                  <a:close/>
                  <a:moveTo>
                    <a:pt x="21667" y="11082"/>
                  </a:moveTo>
                  <a:cubicBezTo>
                    <a:pt x="21240" y="11679"/>
                    <a:pt x="20393" y="12523"/>
                    <a:pt x="18946" y="12523"/>
                  </a:cubicBezTo>
                  <a:lnTo>
                    <a:pt x="13425" y="12523"/>
                  </a:lnTo>
                  <a:cubicBezTo>
                    <a:pt x="12150" y="12523"/>
                    <a:pt x="11640" y="11933"/>
                    <a:pt x="12322" y="10409"/>
                  </a:cubicBezTo>
                  <a:lnTo>
                    <a:pt x="16402" y="2114"/>
                  </a:lnTo>
                  <a:cubicBezTo>
                    <a:pt x="17001" y="844"/>
                    <a:pt x="17843" y="0"/>
                    <a:pt x="19373" y="0"/>
                  </a:cubicBezTo>
                  <a:lnTo>
                    <a:pt x="26767" y="0"/>
                  </a:lnTo>
                  <a:cubicBezTo>
                    <a:pt x="28214" y="0"/>
                    <a:pt x="28635" y="933"/>
                    <a:pt x="27787" y="2114"/>
                  </a:cubicBezTo>
                  <a:lnTo>
                    <a:pt x="21667" y="11082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" name="Title 8">
            <a:extLst>
              <a:ext uri="{FF2B5EF4-FFF2-40B4-BE49-F238E27FC236}">
                <a16:creationId xmlns:a16="http://schemas.microsoft.com/office/drawing/2014/main" id="{B2782EE4-2D18-367D-898B-4B949F4203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670" y="489643"/>
            <a:ext cx="11501893" cy="440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7A69DA5-4B14-FF43-7BBB-F679A9B14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670" y="248891"/>
            <a:ext cx="11501892" cy="237816"/>
          </a:xfrm>
        </p:spPr>
        <p:txBody>
          <a:bodyPr lIns="0" rIns="0" anchor="b"/>
          <a:lstStyle>
            <a:lvl1pPr marL="0" indent="0">
              <a:buNone/>
              <a:tabLst/>
              <a:defRPr sz="1100" b="1" cap="all" spc="100" baseline="0">
                <a:solidFill>
                  <a:schemeClr val="accent2"/>
                </a:solidFill>
              </a:defRPr>
            </a:lvl1pPr>
            <a:lvl2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3pPr>
            <a:lvl4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4pPr>
            <a:lvl5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5pPr>
            <a:lvl6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6pPr>
            <a:lvl7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7pPr>
            <a:lvl8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8pPr>
            <a:lvl9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160040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x Column">
    <p:bg>
      <p:bgPr>
        <a:solidFill>
          <a:srgbClr val="000D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964BD8E-DBE8-1079-3BEB-C9F943025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866B4-9C46-704F-B522-AEE572D2B6E9}" type="datetime1">
              <a:rPr lang="en-CA" smtClean="0"/>
              <a:t>2025-10-21</a:t>
            </a:fld>
            <a:endParaRPr lang="en-US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00CF20F-ED6C-BA9A-0341-57EA70A61E7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" y="333376"/>
            <a:ext cx="132079" cy="647700"/>
          </a:xfrm>
          <a:gradFill flip="none" rotWithShape="1">
            <a:gsLst>
              <a:gs pos="0">
                <a:schemeClr val="accent2"/>
              </a:gs>
              <a:gs pos="32000">
                <a:schemeClr val="accent3"/>
              </a:gs>
              <a:gs pos="77000">
                <a:schemeClr val="accent4"/>
              </a:gs>
              <a:gs pos="99000">
                <a:schemeClr val="accent5"/>
              </a:gs>
            </a:gsLst>
            <a:lin ang="5400000" scaled="1"/>
            <a:tileRect/>
          </a:grad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D635E2A-6D4A-8410-C25C-ADE19D73F126}"/>
              </a:ext>
            </a:extLst>
          </p:cNvPr>
          <p:cNvSpPr/>
          <p:nvPr userDrawn="1"/>
        </p:nvSpPr>
        <p:spPr>
          <a:xfrm>
            <a:off x="341762" y="1773238"/>
            <a:ext cx="3687427" cy="1960089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0CDFF368-E04F-4D45-51CA-ECCD02532D4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509" y="2529360"/>
            <a:ext cx="3441134" cy="1089771"/>
          </a:xfrm>
          <a:prstGeom prst="rect">
            <a:avLst/>
          </a:prstGeom>
          <a:noFill/>
          <a:ln w="12700">
            <a:noFill/>
          </a:ln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4468825-36AA-E098-80CF-38188A3961D1}"/>
              </a:ext>
            </a:extLst>
          </p:cNvPr>
          <p:cNvSpPr/>
          <p:nvPr userDrawn="1"/>
        </p:nvSpPr>
        <p:spPr>
          <a:xfrm>
            <a:off x="4254780" y="1773238"/>
            <a:ext cx="3687427" cy="1960089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F8FF77-D259-6F2A-B113-0D2D0006E472}"/>
              </a:ext>
            </a:extLst>
          </p:cNvPr>
          <p:cNvSpPr/>
          <p:nvPr userDrawn="1"/>
        </p:nvSpPr>
        <p:spPr>
          <a:xfrm>
            <a:off x="8169610" y="1773238"/>
            <a:ext cx="3687427" cy="1960089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solidFill>
              <a:schemeClr val="accent3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66CCBA1-7C58-C155-D9FF-2FEC01EA94C3}"/>
              </a:ext>
            </a:extLst>
          </p:cNvPr>
          <p:cNvSpPr/>
          <p:nvPr userDrawn="1"/>
        </p:nvSpPr>
        <p:spPr>
          <a:xfrm>
            <a:off x="341762" y="4045140"/>
            <a:ext cx="3687427" cy="1960089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A7FAB3B-14F5-B698-A754-BC7E4EF83BF4}"/>
              </a:ext>
            </a:extLst>
          </p:cNvPr>
          <p:cNvSpPr/>
          <p:nvPr userDrawn="1"/>
        </p:nvSpPr>
        <p:spPr>
          <a:xfrm>
            <a:off x="4254780" y="4045140"/>
            <a:ext cx="3687427" cy="1960089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4D69DD-796D-2732-29E7-9F6F2F2F9622}"/>
              </a:ext>
            </a:extLst>
          </p:cNvPr>
          <p:cNvSpPr/>
          <p:nvPr userDrawn="1"/>
        </p:nvSpPr>
        <p:spPr>
          <a:xfrm>
            <a:off x="8169610" y="4045140"/>
            <a:ext cx="3687427" cy="1960089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solidFill>
              <a:srgbClr val="85F1AD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6" name="Text Placeholder 59">
            <a:extLst>
              <a:ext uri="{FF2B5EF4-FFF2-40B4-BE49-F238E27FC236}">
                <a16:creationId xmlns:a16="http://schemas.microsoft.com/office/drawing/2014/main" id="{CDC73FDE-4BBB-18E1-45F4-4B7E7F2D18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762" y="1779891"/>
            <a:ext cx="3687371" cy="60989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lIns="576000" tIns="0" bIns="0" anchor="ctr">
            <a:normAutofit/>
          </a:bodyPr>
          <a:lstStyle>
            <a:lvl1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1pPr>
            <a:lvl2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2pPr>
            <a:lvl3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3pPr>
            <a:lvl4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4pPr>
            <a:lvl5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5pPr>
            <a:lvl6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6pPr>
            <a:lvl7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7pPr>
            <a:lvl8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8pPr>
            <a:lvl9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29" name="Picture Placeholder 64">
            <a:extLst>
              <a:ext uri="{FF2B5EF4-FFF2-40B4-BE49-F238E27FC236}">
                <a16:creationId xmlns:a16="http://schemas.microsoft.com/office/drawing/2014/main" id="{51CBDAC5-39B3-BA7F-69A3-37F2440DC200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492732" y="1940947"/>
            <a:ext cx="324822" cy="305839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x</a:t>
            </a:r>
          </a:p>
        </p:txBody>
      </p:sp>
      <p:sp>
        <p:nvSpPr>
          <p:cNvPr id="32" name="Text Placeholder 59">
            <a:extLst>
              <a:ext uri="{FF2B5EF4-FFF2-40B4-BE49-F238E27FC236}">
                <a16:creationId xmlns:a16="http://schemas.microsoft.com/office/drawing/2014/main" id="{EB2F224C-8AC4-46FB-24DC-2E34D671D4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54808" y="1779891"/>
            <a:ext cx="3687371" cy="609897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 lIns="576000" tIns="0" bIns="0" anchor="ctr">
            <a:normAutofit/>
          </a:bodyPr>
          <a:lstStyle>
            <a:lvl1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1pPr>
            <a:lvl2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2pPr>
            <a:lvl3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3pPr>
            <a:lvl4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4pPr>
            <a:lvl5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5pPr>
            <a:lvl6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6pPr>
            <a:lvl7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7pPr>
            <a:lvl8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8pPr>
            <a:lvl9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35" name="Picture Placeholder 64">
            <a:extLst>
              <a:ext uri="{FF2B5EF4-FFF2-40B4-BE49-F238E27FC236}">
                <a16:creationId xmlns:a16="http://schemas.microsoft.com/office/drawing/2014/main" id="{A40AAE8A-E73E-AC44-034F-ED32B1EFD17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4405640" y="1940947"/>
            <a:ext cx="324822" cy="305839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x</a:t>
            </a:r>
          </a:p>
        </p:txBody>
      </p:sp>
      <p:sp>
        <p:nvSpPr>
          <p:cNvPr id="42" name="Text Placeholder 59">
            <a:extLst>
              <a:ext uri="{FF2B5EF4-FFF2-40B4-BE49-F238E27FC236}">
                <a16:creationId xmlns:a16="http://schemas.microsoft.com/office/drawing/2014/main" id="{45B8D40A-DDC4-2E16-1BEA-3318B7626C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69666" y="1779891"/>
            <a:ext cx="3687371" cy="609897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txBody>
          <a:bodyPr lIns="576000" tIns="0" bIns="0" anchor="ctr">
            <a:normAutofit/>
          </a:bodyPr>
          <a:lstStyle>
            <a:lvl1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1pPr>
            <a:lvl2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2pPr>
            <a:lvl3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3pPr>
            <a:lvl4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4pPr>
            <a:lvl5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5pPr>
            <a:lvl6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6pPr>
            <a:lvl7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7pPr>
            <a:lvl8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8pPr>
            <a:lvl9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43" name="Picture Placeholder 64">
            <a:extLst>
              <a:ext uri="{FF2B5EF4-FFF2-40B4-BE49-F238E27FC236}">
                <a16:creationId xmlns:a16="http://schemas.microsoft.com/office/drawing/2014/main" id="{E6BF8E9B-074E-22BB-11AD-3F7EACD7AA0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8318547" y="1940947"/>
            <a:ext cx="324822" cy="305839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x</a:t>
            </a:r>
          </a:p>
        </p:txBody>
      </p:sp>
      <p:sp>
        <p:nvSpPr>
          <p:cNvPr id="44" name="Text Placeholder 59">
            <a:extLst>
              <a:ext uri="{FF2B5EF4-FFF2-40B4-BE49-F238E27FC236}">
                <a16:creationId xmlns:a16="http://schemas.microsoft.com/office/drawing/2014/main" id="{24FD266A-2D38-5D92-C5CB-6020612C7D1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41762" y="4046487"/>
            <a:ext cx="3687371" cy="609897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 lIns="576000" tIns="0" bIns="0" anchor="ctr">
            <a:normAutofit/>
          </a:bodyPr>
          <a:lstStyle>
            <a:lvl1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1pPr>
            <a:lvl2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2pPr>
            <a:lvl3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3pPr>
            <a:lvl4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4pPr>
            <a:lvl5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5pPr>
            <a:lvl6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6pPr>
            <a:lvl7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7pPr>
            <a:lvl8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8pPr>
            <a:lvl9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45" name="Picture Placeholder 64">
            <a:extLst>
              <a:ext uri="{FF2B5EF4-FFF2-40B4-BE49-F238E27FC236}">
                <a16:creationId xmlns:a16="http://schemas.microsoft.com/office/drawing/2014/main" id="{0935FAAC-FF31-8220-BF26-98E4C6681154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92732" y="4207543"/>
            <a:ext cx="324822" cy="305839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x</a:t>
            </a:r>
          </a:p>
        </p:txBody>
      </p:sp>
      <p:sp>
        <p:nvSpPr>
          <p:cNvPr id="46" name="Text Placeholder 59">
            <a:extLst>
              <a:ext uri="{FF2B5EF4-FFF2-40B4-BE49-F238E27FC236}">
                <a16:creationId xmlns:a16="http://schemas.microsoft.com/office/drawing/2014/main" id="{CFA03292-788D-CE43-CDA4-06DC49B7B20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54808" y="4046487"/>
            <a:ext cx="3687371" cy="609897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</p:spPr>
        <p:txBody>
          <a:bodyPr lIns="576000" tIns="0" bIns="0" anchor="ctr">
            <a:normAutofit/>
          </a:bodyPr>
          <a:lstStyle>
            <a:lvl1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2pPr>
            <a:lvl3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3pPr>
            <a:lvl4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4pPr>
            <a:lvl5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5pPr>
            <a:lvl6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6pPr>
            <a:lvl7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7pPr>
            <a:lvl8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8pPr>
            <a:lvl9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47" name="Picture Placeholder 64">
            <a:extLst>
              <a:ext uri="{FF2B5EF4-FFF2-40B4-BE49-F238E27FC236}">
                <a16:creationId xmlns:a16="http://schemas.microsoft.com/office/drawing/2014/main" id="{97B6CFE5-E2AD-27E5-114F-DFBBEF8C819F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4405640" y="4207543"/>
            <a:ext cx="324822" cy="305839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x</a:t>
            </a:r>
          </a:p>
        </p:txBody>
      </p:sp>
      <p:sp>
        <p:nvSpPr>
          <p:cNvPr id="48" name="Text Placeholder 59">
            <a:extLst>
              <a:ext uri="{FF2B5EF4-FFF2-40B4-BE49-F238E27FC236}">
                <a16:creationId xmlns:a16="http://schemas.microsoft.com/office/drawing/2014/main" id="{EF766C91-9881-8EAD-A762-982855D2E57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69666" y="4046487"/>
            <a:ext cx="3687371" cy="609897"/>
          </a:xfrm>
          <a:prstGeom prst="rect">
            <a:avLst/>
          </a:prstGeom>
          <a:solidFill>
            <a:srgbClr val="85F1AD"/>
          </a:solidFill>
          <a:ln w="12700">
            <a:solidFill>
              <a:srgbClr val="85F1AD"/>
            </a:solidFill>
          </a:ln>
        </p:spPr>
        <p:txBody>
          <a:bodyPr lIns="576000" tIns="0" bIns="0" anchor="ctr">
            <a:normAutofit/>
          </a:bodyPr>
          <a:lstStyle>
            <a:lvl1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2pPr>
            <a:lvl3pPr marL="9525" indent="0">
              <a:buFont typeface="Arial" panose="020B0604020202020204" pitchFamily="34" charset="0"/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3pPr>
            <a:lvl4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4pPr>
            <a:lvl5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5pPr>
            <a:lvl6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6pPr>
            <a:lvl7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7pPr>
            <a:lvl8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8pPr>
            <a:lvl9pPr marL="9525" indent="0">
              <a:buNone/>
              <a:tabLst>
                <a:tab pos="212725" algn="l"/>
              </a:tabLst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49" name="Picture Placeholder 64">
            <a:extLst>
              <a:ext uri="{FF2B5EF4-FFF2-40B4-BE49-F238E27FC236}">
                <a16:creationId xmlns:a16="http://schemas.microsoft.com/office/drawing/2014/main" id="{71B616E3-2BBB-34A3-D7C9-92FD94AC9A84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8318547" y="4207543"/>
            <a:ext cx="324822" cy="305839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x</a:t>
            </a:r>
          </a:p>
        </p:txBody>
      </p:sp>
      <p:sp>
        <p:nvSpPr>
          <p:cNvPr id="50" name="Content Placeholder 8">
            <a:extLst>
              <a:ext uri="{FF2B5EF4-FFF2-40B4-BE49-F238E27FC236}">
                <a16:creationId xmlns:a16="http://schemas.microsoft.com/office/drawing/2014/main" id="{F84FA47E-BDDC-DD76-D7C1-605A335719B6}"/>
              </a:ext>
            </a:extLst>
          </p:cNvPr>
          <p:cNvSpPr>
            <a:spLocks noGrp="1"/>
          </p:cNvSpPr>
          <p:nvPr>
            <p:ph sz="quarter" idx="46"/>
          </p:nvPr>
        </p:nvSpPr>
        <p:spPr>
          <a:xfrm>
            <a:off x="4377614" y="2529360"/>
            <a:ext cx="3441134" cy="1089771"/>
          </a:xfrm>
          <a:prstGeom prst="rect">
            <a:avLst/>
          </a:prstGeom>
          <a:noFill/>
          <a:ln w="12700">
            <a:noFill/>
          </a:ln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Content Placeholder 8">
            <a:extLst>
              <a:ext uri="{FF2B5EF4-FFF2-40B4-BE49-F238E27FC236}">
                <a16:creationId xmlns:a16="http://schemas.microsoft.com/office/drawing/2014/main" id="{45049370-EB1F-1B83-F3AA-7D99A5B86E3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8292444" y="2529360"/>
            <a:ext cx="3441134" cy="1089771"/>
          </a:xfrm>
          <a:prstGeom prst="rect">
            <a:avLst/>
          </a:prstGeom>
          <a:noFill/>
          <a:ln w="12700">
            <a:noFill/>
          </a:ln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2" name="Content Placeholder 8">
            <a:extLst>
              <a:ext uri="{FF2B5EF4-FFF2-40B4-BE49-F238E27FC236}">
                <a16:creationId xmlns:a16="http://schemas.microsoft.com/office/drawing/2014/main" id="{EA42E83C-3E83-1E00-C617-6DAD9E554BF5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57509" y="4805287"/>
            <a:ext cx="3441134" cy="1024891"/>
          </a:xfrm>
          <a:prstGeom prst="rect">
            <a:avLst/>
          </a:prstGeom>
          <a:noFill/>
          <a:ln w="12700">
            <a:noFill/>
          </a:ln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3" name="Content Placeholder 8">
            <a:extLst>
              <a:ext uri="{FF2B5EF4-FFF2-40B4-BE49-F238E27FC236}">
                <a16:creationId xmlns:a16="http://schemas.microsoft.com/office/drawing/2014/main" id="{183C24C4-DDB9-7898-E0FE-A99EC83B075B}"/>
              </a:ext>
            </a:extLst>
          </p:cNvPr>
          <p:cNvSpPr>
            <a:spLocks noGrp="1"/>
          </p:cNvSpPr>
          <p:nvPr>
            <p:ph sz="quarter" idx="49"/>
          </p:nvPr>
        </p:nvSpPr>
        <p:spPr>
          <a:xfrm>
            <a:off x="4377614" y="4805287"/>
            <a:ext cx="3441134" cy="1024891"/>
          </a:xfrm>
          <a:prstGeom prst="rect">
            <a:avLst/>
          </a:prstGeom>
          <a:noFill/>
          <a:ln w="12700">
            <a:noFill/>
          </a:ln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4" name="Content Placeholder 8">
            <a:extLst>
              <a:ext uri="{FF2B5EF4-FFF2-40B4-BE49-F238E27FC236}">
                <a16:creationId xmlns:a16="http://schemas.microsoft.com/office/drawing/2014/main" id="{BF1204B6-FF6D-8F84-4EA0-95C1A3DE19F2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292444" y="4805287"/>
            <a:ext cx="3441134" cy="1024891"/>
          </a:xfrm>
          <a:prstGeom prst="rect">
            <a:avLst/>
          </a:prstGeom>
          <a:noFill/>
          <a:ln w="12700">
            <a:noFill/>
          </a:ln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1FD64ED1-75DF-0F85-698B-577E9A02EF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813" y="574127"/>
            <a:ext cx="11501893" cy="440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7EDE2BB-DBB5-FCED-671C-72061367E9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813" y="333375"/>
            <a:ext cx="11501892" cy="237816"/>
          </a:xfrm>
        </p:spPr>
        <p:txBody>
          <a:bodyPr lIns="0" rIns="0" anchor="b"/>
          <a:lstStyle>
            <a:lvl1pPr marL="0" indent="0">
              <a:buNone/>
              <a:tabLst/>
              <a:defRPr sz="1100" b="1" cap="all" spc="100" baseline="0">
                <a:solidFill>
                  <a:schemeClr val="accent2"/>
                </a:solidFill>
              </a:defRPr>
            </a:lvl1pPr>
            <a:lvl2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3pPr>
            <a:lvl4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4pPr>
            <a:lvl5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5pPr>
            <a:lvl6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6pPr>
            <a:lvl7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7pPr>
            <a:lvl8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8pPr>
            <a:lvl9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BE7B8A62-7A00-EA55-3458-1C0171F31A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813" y="1014174"/>
            <a:ext cx="11501892" cy="506652"/>
          </a:xfrm>
        </p:spPr>
        <p:txBody>
          <a:bodyPr lIns="0" rIns="0" anchor="t">
            <a:normAutofit/>
          </a:bodyPr>
          <a:lstStyle>
            <a:lvl1pPr marL="0" indent="0">
              <a:buNone/>
              <a:tabLst/>
              <a:defRPr sz="1400" b="0" cap="none" baseline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3pPr>
            <a:lvl4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4pPr>
            <a:lvl5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5pPr>
            <a:lvl6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6pPr>
            <a:lvl7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7pPr>
            <a:lvl8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8pPr>
            <a:lvl9pPr marL="0" indent="0">
              <a:buNone/>
              <a:tabLst/>
              <a:defRPr sz="1400" b="1" cap="all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Slide description he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2EF943-B56A-7823-25D9-96510ED906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8632" y="6541399"/>
            <a:ext cx="348404" cy="316601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BAFA70EE-EF21-5645-B7EF-DF5EA44B88C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0733EC2-432C-2E68-7D32-F5693DD8FF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6273800"/>
            <a:ext cx="11522073" cy="2508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9428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D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9E852FE6-21B4-036C-4889-60965746B5ED}"/>
              </a:ext>
            </a:extLst>
          </p:cNvPr>
          <p:cNvGrpSpPr/>
          <p:nvPr userDrawn="1"/>
        </p:nvGrpSpPr>
        <p:grpSpPr>
          <a:xfrm>
            <a:off x="4690533" y="-1"/>
            <a:ext cx="7501468" cy="4219577"/>
            <a:chOff x="4690533" y="-1"/>
            <a:chExt cx="7501468" cy="4219577"/>
          </a:xfrm>
        </p:grpSpPr>
        <p:pic>
          <p:nvPicPr>
            <p:cNvPr id="21" name="Picture 20" descr="A close-up of a white surface&#10;&#10;Description automatically generated">
              <a:extLst>
                <a:ext uri="{FF2B5EF4-FFF2-40B4-BE49-F238E27FC236}">
                  <a16:creationId xmlns:a16="http://schemas.microsoft.com/office/drawing/2014/main" id="{572865D1-ADF3-3CE8-82C5-37A01F5D2A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>
              <a:alphaModFix amt="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20"/>
            <a:stretch/>
          </p:blipFill>
          <p:spPr>
            <a:xfrm>
              <a:off x="4690533" y="0"/>
              <a:ext cx="7501467" cy="4219575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63E30B8-7154-FBC1-D81F-5B671A939DFE}"/>
                </a:ext>
              </a:extLst>
            </p:cNvPr>
            <p:cNvSpPr/>
            <p:nvPr/>
          </p:nvSpPr>
          <p:spPr>
            <a:xfrm>
              <a:off x="4690533" y="-1"/>
              <a:ext cx="1794934" cy="4219575"/>
            </a:xfrm>
            <a:prstGeom prst="rect">
              <a:avLst/>
            </a:prstGeom>
            <a:gradFill>
              <a:gsLst>
                <a:gs pos="2000">
                  <a:srgbClr val="000D23"/>
                </a:gs>
                <a:gs pos="98000">
                  <a:schemeClr val="tx1"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F562D36-662C-B15B-4FF8-FBCC223D501A}"/>
                </a:ext>
              </a:extLst>
            </p:cNvPr>
            <p:cNvSpPr/>
            <p:nvPr/>
          </p:nvSpPr>
          <p:spPr>
            <a:xfrm rot="16200000">
              <a:off x="7491417" y="-481008"/>
              <a:ext cx="1899700" cy="7501468"/>
            </a:xfrm>
            <a:prstGeom prst="rect">
              <a:avLst/>
            </a:prstGeom>
            <a:gradFill>
              <a:gsLst>
                <a:gs pos="3000">
                  <a:srgbClr val="000D23"/>
                </a:gs>
                <a:gs pos="99000">
                  <a:schemeClr val="tx1"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015D0E-A28A-360C-0A14-799FD7CC2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600976"/>
            <a:ext cx="11522072" cy="380098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8C2C7C-3235-8367-876C-B1C200AA78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773237"/>
            <a:ext cx="11522073" cy="4483787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D5CD04-B1D7-5CD5-CA1C-F864C3BA4B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364673" y="0"/>
            <a:ext cx="36000" cy="3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8809D5-0874-374B-805D-380B216D7E06}" type="datetime1">
              <a:rPr lang="en-CA" smtClean="0"/>
              <a:t>2025-10-21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D01C11-4B0F-78AE-9326-B2ED5C837872}"/>
              </a:ext>
            </a:extLst>
          </p:cNvPr>
          <p:cNvSpPr/>
          <p:nvPr userDrawn="1"/>
        </p:nvSpPr>
        <p:spPr>
          <a:xfrm>
            <a:off x="339449" y="6541399"/>
            <a:ext cx="4356275" cy="27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© 2024 J.D. Power. All Rights Reserved. CONFIDENTIAL &amp; PROPRIETARY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4A35980-B573-75FD-CB2F-3390BAD78015}"/>
              </a:ext>
            </a:extLst>
          </p:cNvPr>
          <p:cNvGrpSpPr/>
          <p:nvPr userDrawn="1"/>
        </p:nvGrpSpPr>
        <p:grpSpPr>
          <a:xfrm>
            <a:off x="-210993" y="-269571"/>
            <a:ext cx="12607636" cy="7378396"/>
            <a:chOff x="-207818" y="-269571"/>
            <a:chExt cx="12607636" cy="7378396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5AD042E6-EB7D-C592-4DCA-72C539C463ED}"/>
                </a:ext>
              </a:extLst>
            </p:cNvPr>
            <p:cNvGrpSpPr/>
            <p:nvPr userDrawn="1"/>
          </p:nvGrpSpPr>
          <p:grpSpPr>
            <a:xfrm>
              <a:off x="12192000" y="333375"/>
              <a:ext cx="207818" cy="6193290"/>
              <a:chOff x="12192000" y="333375"/>
              <a:chExt cx="352926" cy="6193290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5A7EAE5F-35A5-3861-FA5F-C61B1D886C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3337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24DA393D-C845-4E5F-56D3-C0213C884CD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97103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15E6EC06-C0D5-AD16-5BC1-11AE0BDB25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5208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79036EF9-5818-9303-4AD6-A91EEA6A1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2738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ABF287C6-1F98-7EDF-F2C1-6D4CF93397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52666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30F09611-B463-A072-CA7B-062BC3EC466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5842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E92B754E-E58D-DECF-C255-0BD3A3A1DF0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89899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2C21A5B5-C7B4-8230-41B9-46EEC477C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019103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AD14A21-71DC-058B-5293-24287647F791}"/>
                </a:ext>
              </a:extLst>
            </p:cNvPr>
            <p:cNvGrpSpPr/>
            <p:nvPr userDrawn="1"/>
          </p:nvGrpSpPr>
          <p:grpSpPr>
            <a:xfrm>
              <a:off x="334963" y="6858000"/>
              <a:ext cx="11534775" cy="250825"/>
              <a:chOff x="334963" y="6858000"/>
              <a:chExt cx="11534775" cy="250825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F60C96F6-C8B7-2D69-BAF1-CEC14EFFB29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334963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2CFEF4CF-28C7-B306-87A8-DF1764A3F0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6097409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1C2CDCF4-3CF2-9C73-E145-6D77828795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11869738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5CD1E46D-1B9E-839D-9F39-A1B6FDE84A3A}"/>
                </a:ext>
              </a:extLst>
            </p:cNvPr>
            <p:cNvGrpSpPr/>
            <p:nvPr userDrawn="1"/>
          </p:nvGrpSpPr>
          <p:grpSpPr>
            <a:xfrm>
              <a:off x="-207818" y="332015"/>
              <a:ext cx="207818" cy="6194650"/>
              <a:chOff x="12192000" y="333375"/>
              <a:chExt cx="352926" cy="6194650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458F03A-BDF3-A886-9ECE-56ED78DCA80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3337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7C891DF-E994-208D-A8A3-02AC9924517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97103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848AED1-3E3B-81E5-E43D-E480D84FD6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5208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34651C0B-8B79-5757-DF80-0BC16971AF7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27516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E214D06-DF6C-161A-BC68-06F72238ED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5280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CCFF458-E28D-EEA4-7696-A184DC7957D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5842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F9BAF28-A86B-6E30-6929-6FD34C1D52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89899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DCB03C77-A4A4-EC65-6BAE-C419DE0B137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771678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63F4D4C6-CED4-0EC1-E6D5-D1F476F38E9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028088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3035E1F-0478-6A90-537A-DF09E989886F}"/>
                </a:ext>
              </a:extLst>
            </p:cNvPr>
            <p:cNvGrpSpPr/>
            <p:nvPr userDrawn="1"/>
          </p:nvGrpSpPr>
          <p:grpSpPr>
            <a:xfrm>
              <a:off x="334963" y="-269571"/>
              <a:ext cx="11534775" cy="250825"/>
              <a:chOff x="334963" y="-269571"/>
              <a:chExt cx="11534775" cy="250825"/>
            </a:xfrm>
          </p:grpSpPr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A0120CD8-2F2F-645F-B9DC-EDBE0661609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334963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9618F8C7-973E-3CF7-F05D-FE3C60BDBF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6097409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BFE2F766-6CCA-80D2-BEDA-33597D9810F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11869738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0C06DF3-029E-134B-8C03-F00B034758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8632" y="6541399"/>
            <a:ext cx="348404" cy="316601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BAFA70EE-EF21-5645-B7EF-DF5EA44B88C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68AF7381-2DFA-5F82-A2E5-6F850E562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6273800"/>
            <a:ext cx="11522073" cy="2508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651CED0-69B9-DFC4-7FF1-426F088FEA71}"/>
              </a:ext>
            </a:extLst>
          </p:cNvPr>
          <p:cNvGrpSpPr/>
          <p:nvPr userDrawn="1"/>
        </p:nvGrpSpPr>
        <p:grpSpPr>
          <a:xfrm>
            <a:off x="10196953" y="6633275"/>
            <a:ext cx="1253882" cy="133137"/>
            <a:chOff x="10196953" y="6633275"/>
            <a:chExt cx="1253882" cy="133137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C1D5F75-191B-8E7D-A83A-3E2267FC512E}"/>
                </a:ext>
              </a:extLst>
            </p:cNvPr>
            <p:cNvSpPr/>
            <p:nvPr/>
          </p:nvSpPr>
          <p:spPr>
            <a:xfrm>
              <a:off x="10196953" y="6634810"/>
              <a:ext cx="83366" cy="131596"/>
            </a:xfrm>
            <a:custGeom>
              <a:avLst/>
              <a:gdLst>
                <a:gd name="connsiteX0" fmla="*/ 25540 w 83366"/>
                <a:gd name="connsiteY0" fmla="*/ 95828 h 131596"/>
                <a:gd name="connsiteX1" fmla="*/ 42060 w 83366"/>
                <a:gd name="connsiteY1" fmla="*/ 110175 h 131596"/>
                <a:gd name="connsiteX2" fmla="*/ 57436 w 83366"/>
                <a:gd name="connsiteY2" fmla="*/ 95828 h 131596"/>
                <a:gd name="connsiteX3" fmla="*/ 57436 w 83366"/>
                <a:gd name="connsiteY3" fmla="*/ 4971 h 131596"/>
                <a:gd name="connsiteX4" fmla="*/ 62043 w 83366"/>
                <a:gd name="connsiteY4" fmla="*/ 0 h 131596"/>
                <a:gd name="connsiteX5" fmla="*/ 78754 w 83366"/>
                <a:gd name="connsiteY5" fmla="*/ 0 h 131596"/>
                <a:gd name="connsiteX6" fmla="*/ 83367 w 83366"/>
                <a:gd name="connsiteY6" fmla="*/ 4971 h 131596"/>
                <a:gd name="connsiteX7" fmla="*/ 83367 w 83366"/>
                <a:gd name="connsiteY7" fmla="*/ 100415 h 131596"/>
                <a:gd name="connsiteX8" fmla="*/ 42054 w 83366"/>
                <a:gd name="connsiteY8" fmla="*/ 131596 h 131596"/>
                <a:gd name="connsiteX9" fmla="*/ 0 w 83366"/>
                <a:gd name="connsiteY9" fmla="*/ 100415 h 131596"/>
                <a:gd name="connsiteX10" fmla="*/ 0 w 83366"/>
                <a:gd name="connsiteY10" fmla="*/ 88937 h 131596"/>
                <a:gd name="connsiteX11" fmla="*/ 4791 w 83366"/>
                <a:gd name="connsiteY11" fmla="*/ 84155 h 131596"/>
                <a:gd name="connsiteX12" fmla="*/ 20938 w 83366"/>
                <a:gd name="connsiteY12" fmla="*/ 84155 h 131596"/>
                <a:gd name="connsiteX13" fmla="*/ 25540 w 83366"/>
                <a:gd name="connsiteY13" fmla="*/ 88937 h 131596"/>
                <a:gd name="connsiteX14" fmla="*/ 25540 w 83366"/>
                <a:gd name="connsiteY14" fmla="*/ 95828 h 13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3366" h="131596">
                  <a:moveTo>
                    <a:pt x="25540" y="95828"/>
                  </a:moveTo>
                  <a:cubicBezTo>
                    <a:pt x="25540" y="105387"/>
                    <a:pt x="30740" y="110175"/>
                    <a:pt x="42060" y="110175"/>
                  </a:cubicBezTo>
                  <a:cubicBezTo>
                    <a:pt x="53380" y="110175"/>
                    <a:pt x="57436" y="105387"/>
                    <a:pt x="57436" y="95828"/>
                  </a:cubicBezTo>
                  <a:lnTo>
                    <a:pt x="57436" y="4971"/>
                  </a:lnTo>
                  <a:cubicBezTo>
                    <a:pt x="57436" y="1523"/>
                    <a:pt x="58776" y="0"/>
                    <a:pt x="62043" y="0"/>
                  </a:cubicBezTo>
                  <a:lnTo>
                    <a:pt x="78754" y="0"/>
                  </a:lnTo>
                  <a:cubicBezTo>
                    <a:pt x="82211" y="0"/>
                    <a:pt x="83367" y="1523"/>
                    <a:pt x="83367" y="4971"/>
                  </a:cubicBezTo>
                  <a:lnTo>
                    <a:pt x="83367" y="100415"/>
                  </a:lnTo>
                  <a:cubicBezTo>
                    <a:pt x="83367" y="116487"/>
                    <a:pt x="74532" y="131596"/>
                    <a:pt x="42054" y="131596"/>
                  </a:cubicBezTo>
                  <a:cubicBezTo>
                    <a:pt x="9577" y="131596"/>
                    <a:pt x="0" y="116493"/>
                    <a:pt x="0" y="100415"/>
                  </a:cubicBezTo>
                  <a:lnTo>
                    <a:pt x="0" y="88937"/>
                  </a:lnTo>
                  <a:cubicBezTo>
                    <a:pt x="0" y="85489"/>
                    <a:pt x="1334" y="84155"/>
                    <a:pt x="4791" y="84155"/>
                  </a:cubicBezTo>
                  <a:lnTo>
                    <a:pt x="20938" y="84155"/>
                  </a:lnTo>
                  <a:cubicBezTo>
                    <a:pt x="24395" y="84155"/>
                    <a:pt x="25540" y="85489"/>
                    <a:pt x="25540" y="88937"/>
                  </a:cubicBezTo>
                  <a:lnTo>
                    <a:pt x="25540" y="95828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97CB9B3-39B4-C4DD-EB4A-F75C067100AD}"/>
                </a:ext>
              </a:extLst>
            </p:cNvPr>
            <p:cNvSpPr/>
            <p:nvPr/>
          </p:nvSpPr>
          <p:spPr>
            <a:xfrm>
              <a:off x="10290513" y="6739825"/>
              <a:ext cx="25741" cy="25058"/>
            </a:xfrm>
            <a:custGeom>
              <a:avLst/>
              <a:gdLst>
                <a:gd name="connsiteX0" fmla="*/ 25741 w 25741"/>
                <a:gd name="connsiteY0" fmla="*/ 20270 h 25058"/>
                <a:gd name="connsiteX1" fmla="*/ 21140 w 25741"/>
                <a:gd name="connsiteY1" fmla="*/ 25058 h 25058"/>
                <a:gd name="connsiteX2" fmla="*/ 4809 w 25741"/>
                <a:gd name="connsiteY2" fmla="*/ 25058 h 25058"/>
                <a:gd name="connsiteX3" fmla="*/ 0 w 25741"/>
                <a:gd name="connsiteY3" fmla="*/ 20270 h 25058"/>
                <a:gd name="connsiteX4" fmla="*/ 0 w 25741"/>
                <a:gd name="connsiteY4" fmla="*/ 4783 h 25058"/>
                <a:gd name="connsiteX5" fmla="*/ 4809 w 25741"/>
                <a:gd name="connsiteY5" fmla="*/ 0 h 25058"/>
                <a:gd name="connsiteX6" fmla="*/ 21140 w 25741"/>
                <a:gd name="connsiteY6" fmla="*/ 0 h 25058"/>
                <a:gd name="connsiteX7" fmla="*/ 25741 w 25741"/>
                <a:gd name="connsiteY7" fmla="*/ 4783 h 25058"/>
                <a:gd name="connsiteX8" fmla="*/ 25741 w 25741"/>
                <a:gd name="connsiteY8" fmla="*/ 20270 h 2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41" h="25058">
                  <a:moveTo>
                    <a:pt x="25741" y="20270"/>
                  </a:moveTo>
                  <a:cubicBezTo>
                    <a:pt x="25741" y="23712"/>
                    <a:pt x="24597" y="25058"/>
                    <a:pt x="21140" y="25058"/>
                  </a:cubicBezTo>
                  <a:lnTo>
                    <a:pt x="4809" y="25058"/>
                  </a:lnTo>
                  <a:cubicBezTo>
                    <a:pt x="1352" y="25058"/>
                    <a:pt x="0" y="23712"/>
                    <a:pt x="0" y="20270"/>
                  </a:cubicBezTo>
                  <a:lnTo>
                    <a:pt x="0" y="4783"/>
                  </a:lnTo>
                  <a:cubicBezTo>
                    <a:pt x="0" y="1346"/>
                    <a:pt x="1352" y="0"/>
                    <a:pt x="4809" y="0"/>
                  </a:cubicBezTo>
                  <a:lnTo>
                    <a:pt x="21140" y="0"/>
                  </a:lnTo>
                  <a:cubicBezTo>
                    <a:pt x="24597" y="0"/>
                    <a:pt x="25741" y="1346"/>
                    <a:pt x="25741" y="4783"/>
                  </a:cubicBezTo>
                  <a:lnTo>
                    <a:pt x="25741" y="20270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3AAAF78A-EE37-4148-6060-85EFB435D22C}"/>
                </a:ext>
              </a:extLst>
            </p:cNvPr>
            <p:cNvSpPr/>
            <p:nvPr/>
          </p:nvSpPr>
          <p:spPr>
            <a:xfrm>
              <a:off x="10343721" y="6634810"/>
              <a:ext cx="93364" cy="130067"/>
            </a:xfrm>
            <a:custGeom>
              <a:avLst/>
              <a:gdLst>
                <a:gd name="connsiteX0" fmla="*/ 4044 w 93364"/>
                <a:gd name="connsiteY0" fmla="*/ 130067 h 130067"/>
                <a:gd name="connsiteX1" fmla="*/ 0 w 93364"/>
                <a:gd name="connsiteY1" fmla="*/ 125101 h 130067"/>
                <a:gd name="connsiteX2" fmla="*/ 0 w 93364"/>
                <a:gd name="connsiteY2" fmla="*/ 4971 h 130067"/>
                <a:gd name="connsiteX3" fmla="*/ 4619 w 93364"/>
                <a:gd name="connsiteY3" fmla="*/ 0 h 130067"/>
                <a:gd name="connsiteX4" fmla="*/ 46495 w 93364"/>
                <a:gd name="connsiteY4" fmla="*/ 0 h 130067"/>
                <a:gd name="connsiteX5" fmla="*/ 93365 w 93364"/>
                <a:gd name="connsiteY5" fmla="*/ 31175 h 130067"/>
                <a:gd name="connsiteX6" fmla="*/ 93365 w 93364"/>
                <a:gd name="connsiteY6" fmla="*/ 98892 h 130067"/>
                <a:gd name="connsiteX7" fmla="*/ 46495 w 93364"/>
                <a:gd name="connsiteY7" fmla="*/ 130067 h 130067"/>
                <a:gd name="connsiteX8" fmla="*/ 4044 w 93364"/>
                <a:gd name="connsiteY8" fmla="*/ 130067 h 130067"/>
                <a:gd name="connsiteX9" fmla="*/ 25943 w 93364"/>
                <a:gd name="connsiteY9" fmla="*/ 21415 h 130067"/>
                <a:gd name="connsiteX10" fmla="*/ 25943 w 93364"/>
                <a:gd name="connsiteY10" fmla="*/ 108646 h 130067"/>
                <a:gd name="connsiteX11" fmla="*/ 46495 w 93364"/>
                <a:gd name="connsiteY11" fmla="*/ 108646 h 130067"/>
                <a:gd name="connsiteX12" fmla="*/ 67439 w 93364"/>
                <a:gd name="connsiteY12" fmla="*/ 94293 h 130067"/>
                <a:gd name="connsiteX13" fmla="*/ 67439 w 93364"/>
                <a:gd name="connsiteY13" fmla="*/ 35769 h 130067"/>
                <a:gd name="connsiteX14" fmla="*/ 46495 w 93364"/>
                <a:gd name="connsiteY14" fmla="*/ 21415 h 130067"/>
                <a:gd name="connsiteX15" fmla="*/ 25943 w 93364"/>
                <a:gd name="connsiteY15" fmla="*/ 21415 h 13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3364" h="130067">
                  <a:moveTo>
                    <a:pt x="4044" y="130067"/>
                  </a:moveTo>
                  <a:cubicBezTo>
                    <a:pt x="967" y="130067"/>
                    <a:pt x="0" y="128355"/>
                    <a:pt x="0" y="125101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19" y="0"/>
                  </a:cubicBezTo>
                  <a:lnTo>
                    <a:pt x="46495" y="0"/>
                  </a:lnTo>
                  <a:cubicBezTo>
                    <a:pt x="81268" y="0"/>
                    <a:pt x="93365" y="15109"/>
                    <a:pt x="93365" y="31175"/>
                  </a:cubicBezTo>
                  <a:lnTo>
                    <a:pt x="93365" y="98892"/>
                  </a:lnTo>
                  <a:cubicBezTo>
                    <a:pt x="93365" y="114958"/>
                    <a:pt x="81262" y="130067"/>
                    <a:pt x="46495" y="130067"/>
                  </a:cubicBezTo>
                  <a:lnTo>
                    <a:pt x="4044" y="130067"/>
                  </a:lnTo>
                  <a:close/>
                  <a:moveTo>
                    <a:pt x="25943" y="21415"/>
                  </a:moveTo>
                  <a:lnTo>
                    <a:pt x="25943" y="108646"/>
                  </a:lnTo>
                  <a:lnTo>
                    <a:pt x="46495" y="108646"/>
                  </a:lnTo>
                  <a:cubicBezTo>
                    <a:pt x="59565" y="108646"/>
                    <a:pt x="67439" y="103858"/>
                    <a:pt x="67439" y="94293"/>
                  </a:cubicBezTo>
                  <a:lnTo>
                    <a:pt x="67439" y="35769"/>
                  </a:lnTo>
                  <a:cubicBezTo>
                    <a:pt x="67439" y="26204"/>
                    <a:pt x="59565" y="21415"/>
                    <a:pt x="46495" y="21415"/>
                  </a:cubicBezTo>
                  <a:lnTo>
                    <a:pt x="25943" y="21415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0CFB77A5-3EC1-05BE-ED77-EDB0760208FE}"/>
                </a:ext>
              </a:extLst>
            </p:cNvPr>
            <p:cNvSpPr/>
            <p:nvPr/>
          </p:nvSpPr>
          <p:spPr>
            <a:xfrm>
              <a:off x="10446122" y="6739825"/>
              <a:ext cx="25747" cy="25058"/>
            </a:xfrm>
            <a:custGeom>
              <a:avLst/>
              <a:gdLst>
                <a:gd name="connsiteX0" fmla="*/ 25747 w 25747"/>
                <a:gd name="connsiteY0" fmla="*/ 20270 h 25058"/>
                <a:gd name="connsiteX1" fmla="*/ 21134 w 25747"/>
                <a:gd name="connsiteY1" fmla="*/ 25058 h 25058"/>
                <a:gd name="connsiteX2" fmla="*/ 4803 w 25747"/>
                <a:gd name="connsiteY2" fmla="*/ 25058 h 25058"/>
                <a:gd name="connsiteX3" fmla="*/ 0 w 25747"/>
                <a:gd name="connsiteY3" fmla="*/ 20270 h 25058"/>
                <a:gd name="connsiteX4" fmla="*/ 0 w 25747"/>
                <a:gd name="connsiteY4" fmla="*/ 4783 h 25058"/>
                <a:gd name="connsiteX5" fmla="*/ 4803 w 25747"/>
                <a:gd name="connsiteY5" fmla="*/ 0 h 25058"/>
                <a:gd name="connsiteX6" fmla="*/ 21134 w 25747"/>
                <a:gd name="connsiteY6" fmla="*/ 0 h 25058"/>
                <a:gd name="connsiteX7" fmla="*/ 25747 w 25747"/>
                <a:gd name="connsiteY7" fmla="*/ 4783 h 25058"/>
                <a:gd name="connsiteX8" fmla="*/ 25747 w 25747"/>
                <a:gd name="connsiteY8" fmla="*/ 20270 h 2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47" h="25058">
                  <a:moveTo>
                    <a:pt x="25747" y="20270"/>
                  </a:moveTo>
                  <a:cubicBezTo>
                    <a:pt x="25747" y="23712"/>
                    <a:pt x="24597" y="25058"/>
                    <a:pt x="21134" y="25058"/>
                  </a:cubicBezTo>
                  <a:lnTo>
                    <a:pt x="4803" y="25058"/>
                  </a:lnTo>
                  <a:cubicBezTo>
                    <a:pt x="1340" y="25058"/>
                    <a:pt x="0" y="23712"/>
                    <a:pt x="0" y="20270"/>
                  </a:cubicBezTo>
                  <a:lnTo>
                    <a:pt x="0" y="4783"/>
                  </a:lnTo>
                  <a:cubicBezTo>
                    <a:pt x="0" y="1346"/>
                    <a:pt x="1340" y="0"/>
                    <a:pt x="4803" y="0"/>
                  </a:cubicBezTo>
                  <a:lnTo>
                    <a:pt x="21134" y="0"/>
                  </a:lnTo>
                  <a:cubicBezTo>
                    <a:pt x="24597" y="0"/>
                    <a:pt x="25747" y="1346"/>
                    <a:pt x="25747" y="4783"/>
                  </a:cubicBezTo>
                  <a:lnTo>
                    <a:pt x="25747" y="20270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C5E73633-D71F-A17C-563B-2BF6F3CF87CF}"/>
                </a:ext>
              </a:extLst>
            </p:cNvPr>
            <p:cNvSpPr/>
            <p:nvPr/>
          </p:nvSpPr>
          <p:spPr>
            <a:xfrm>
              <a:off x="10526696" y="6634810"/>
              <a:ext cx="91431" cy="130061"/>
            </a:xfrm>
            <a:custGeom>
              <a:avLst/>
              <a:gdLst>
                <a:gd name="connsiteX0" fmla="*/ 25931 w 91431"/>
                <a:gd name="connsiteY0" fmla="*/ 83966 h 130061"/>
                <a:gd name="connsiteX1" fmla="*/ 25931 w 91431"/>
                <a:gd name="connsiteY1" fmla="*/ 125096 h 130061"/>
                <a:gd name="connsiteX2" fmla="*/ 21323 w 91431"/>
                <a:gd name="connsiteY2" fmla="*/ 130061 h 130061"/>
                <a:gd name="connsiteX3" fmla="*/ 4607 w 91431"/>
                <a:gd name="connsiteY3" fmla="*/ 130061 h 130061"/>
                <a:gd name="connsiteX4" fmla="*/ 0 w 91431"/>
                <a:gd name="connsiteY4" fmla="*/ 125096 h 130061"/>
                <a:gd name="connsiteX5" fmla="*/ 0 w 91431"/>
                <a:gd name="connsiteY5" fmla="*/ 4971 h 130061"/>
                <a:gd name="connsiteX6" fmla="*/ 4607 w 91431"/>
                <a:gd name="connsiteY6" fmla="*/ 0 h 130061"/>
                <a:gd name="connsiteX7" fmla="*/ 44948 w 91431"/>
                <a:gd name="connsiteY7" fmla="*/ 0 h 130061"/>
                <a:gd name="connsiteX8" fmla="*/ 91431 w 91431"/>
                <a:gd name="connsiteY8" fmla="*/ 31175 h 130061"/>
                <a:gd name="connsiteX9" fmla="*/ 91431 w 91431"/>
                <a:gd name="connsiteY9" fmla="*/ 52803 h 130061"/>
                <a:gd name="connsiteX10" fmla="*/ 44948 w 91431"/>
                <a:gd name="connsiteY10" fmla="*/ 83972 h 130061"/>
                <a:gd name="connsiteX11" fmla="*/ 25931 w 91431"/>
                <a:gd name="connsiteY11" fmla="*/ 83972 h 130061"/>
                <a:gd name="connsiteX12" fmla="*/ 25931 w 91431"/>
                <a:gd name="connsiteY12" fmla="*/ 21415 h 130061"/>
                <a:gd name="connsiteX13" fmla="*/ 25931 w 91431"/>
                <a:gd name="connsiteY13" fmla="*/ 62545 h 130061"/>
                <a:gd name="connsiteX14" fmla="*/ 44948 w 91431"/>
                <a:gd name="connsiteY14" fmla="*/ 62545 h 130061"/>
                <a:gd name="connsiteX15" fmla="*/ 65696 w 91431"/>
                <a:gd name="connsiteY15" fmla="*/ 48386 h 130061"/>
                <a:gd name="connsiteX16" fmla="*/ 65696 w 91431"/>
                <a:gd name="connsiteY16" fmla="*/ 35763 h 130061"/>
                <a:gd name="connsiteX17" fmla="*/ 44948 w 91431"/>
                <a:gd name="connsiteY17" fmla="*/ 21409 h 130061"/>
                <a:gd name="connsiteX18" fmla="*/ 25931 w 91431"/>
                <a:gd name="connsiteY18" fmla="*/ 21409 h 13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431" h="130061">
                  <a:moveTo>
                    <a:pt x="25931" y="83966"/>
                  </a:moveTo>
                  <a:lnTo>
                    <a:pt x="25931" y="125096"/>
                  </a:lnTo>
                  <a:cubicBezTo>
                    <a:pt x="25931" y="128538"/>
                    <a:pt x="24775" y="130061"/>
                    <a:pt x="21323" y="130061"/>
                  </a:cubicBezTo>
                  <a:lnTo>
                    <a:pt x="4607" y="130061"/>
                  </a:lnTo>
                  <a:cubicBezTo>
                    <a:pt x="1150" y="130061"/>
                    <a:pt x="0" y="128538"/>
                    <a:pt x="0" y="125096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07" y="0"/>
                  </a:cubicBezTo>
                  <a:lnTo>
                    <a:pt x="44948" y="0"/>
                  </a:lnTo>
                  <a:cubicBezTo>
                    <a:pt x="79708" y="0"/>
                    <a:pt x="91431" y="15109"/>
                    <a:pt x="91431" y="31175"/>
                  </a:cubicBezTo>
                  <a:lnTo>
                    <a:pt x="91431" y="52803"/>
                  </a:lnTo>
                  <a:cubicBezTo>
                    <a:pt x="91431" y="68863"/>
                    <a:pt x="79714" y="83972"/>
                    <a:pt x="44948" y="83972"/>
                  </a:cubicBezTo>
                  <a:lnTo>
                    <a:pt x="25931" y="83972"/>
                  </a:lnTo>
                  <a:close/>
                  <a:moveTo>
                    <a:pt x="25931" y="21415"/>
                  </a:moveTo>
                  <a:lnTo>
                    <a:pt x="25931" y="62545"/>
                  </a:lnTo>
                  <a:lnTo>
                    <a:pt x="44948" y="62545"/>
                  </a:lnTo>
                  <a:cubicBezTo>
                    <a:pt x="57815" y="62545"/>
                    <a:pt x="65696" y="57756"/>
                    <a:pt x="65696" y="48386"/>
                  </a:cubicBezTo>
                  <a:lnTo>
                    <a:pt x="65696" y="35763"/>
                  </a:lnTo>
                  <a:cubicBezTo>
                    <a:pt x="65696" y="26198"/>
                    <a:pt x="57815" y="21409"/>
                    <a:pt x="44948" y="21409"/>
                  </a:cubicBezTo>
                  <a:lnTo>
                    <a:pt x="25931" y="2140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5973EAC5-F6CD-241D-A5BE-B3BAF9B5C888}"/>
                </a:ext>
              </a:extLst>
            </p:cNvPr>
            <p:cNvSpPr/>
            <p:nvPr/>
          </p:nvSpPr>
          <p:spPr>
            <a:xfrm>
              <a:off x="10637921" y="6633275"/>
              <a:ext cx="93382" cy="133137"/>
            </a:xfrm>
            <a:custGeom>
              <a:avLst/>
              <a:gdLst>
                <a:gd name="connsiteX0" fmla="*/ 0 w 93382"/>
                <a:gd name="connsiteY0" fmla="*/ 31175 h 133137"/>
                <a:gd name="connsiteX1" fmla="*/ 46685 w 93382"/>
                <a:gd name="connsiteY1" fmla="*/ 0 h 133137"/>
                <a:gd name="connsiteX2" fmla="*/ 93382 w 93382"/>
                <a:gd name="connsiteY2" fmla="*/ 31175 h 133137"/>
                <a:gd name="connsiteX3" fmla="*/ 93382 w 93382"/>
                <a:gd name="connsiteY3" fmla="*/ 101956 h 133137"/>
                <a:gd name="connsiteX4" fmla="*/ 46685 w 93382"/>
                <a:gd name="connsiteY4" fmla="*/ 133137 h 133137"/>
                <a:gd name="connsiteX5" fmla="*/ 0 w 93382"/>
                <a:gd name="connsiteY5" fmla="*/ 101956 h 133137"/>
                <a:gd name="connsiteX6" fmla="*/ 0 w 93382"/>
                <a:gd name="connsiteY6" fmla="*/ 31175 h 133137"/>
                <a:gd name="connsiteX7" fmla="*/ 67434 w 93382"/>
                <a:gd name="connsiteY7" fmla="*/ 35769 h 133137"/>
                <a:gd name="connsiteX8" fmla="*/ 46685 w 93382"/>
                <a:gd name="connsiteY8" fmla="*/ 21427 h 133137"/>
                <a:gd name="connsiteX9" fmla="*/ 26133 w 93382"/>
                <a:gd name="connsiteY9" fmla="*/ 35769 h 133137"/>
                <a:gd name="connsiteX10" fmla="*/ 26133 w 93382"/>
                <a:gd name="connsiteY10" fmla="*/ 97369 h 133137"/>
                <a:gd name="connsiteX11" fmla="*/ 46685 w 93382"/>
                <a:gd name="connsiteY11" fmla="*/ 111716 h 133137"/>
                <a:gd name="connsiteX12" fmla="*/ 67434 w 93382"/>
                <a:gd name="connsiteY12" fmla="*/ 97369 h 133137"/>
                <a:gd name="connsiteX13" fmla="*/ 67434 w 93382"/>
                <a:gd name="connsiteY13" fmla="*/ 35769 h 133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382" h="133137">
                  <a:moveTo>
                    <a:pt x="0" y="31175"/>
                  </a:moveTo>
                  <a:cubicBezTo>
                    <a:pt x="0" y="15115"/>
                    <a:pt x="11919" y="0"/>
                    <a:pt x="46685" y="0"/>
                  </a:cubicBezTo>
                  <a:cubicBezTo>
                    <a:pt x="81452" y="0"/>
                    <a:pt x="93382" y="15115"/>
                    <a:pt x="93382" y="31175"/>
                  </a:cubicBezTo>
                  <a:lnTo>
                    <a:pt x="93382" y="101956"/>
                  </a:lnTo>
                  <a:cubicBezTo>
                    <a:pt x="93382" y="118028"/>
                    <a:pt x="81463" y="133137"/>
                    <a:pt x="46685" y="133137"/>
                  </a:cubicBezTo>
                  <a:cubicBezTo>
                    <a:pt x="11907" y="133137"/>
                    <a:pt x="0" y="118034"/>
                    <a:pt x="0" y="101956"/>
                  </a:cubicBezTo>
                  <a:lnTo>
                    <a:pt x="0" y="31175"/>
                  </a:lnTo>
                  <a:close/>
                  <a:moveTo>
                    <a:pt x="67434" y="35769"/>
                  </a:moveTo>
                  <a:cubicBezTo>
                    <a:pt x="67434" y="26209"/>
                    <a:pt x="59559" y="21427"/>
                    <a:pt x="46685" y="21427"/>
                  </a:cubicBezTo>
                  <a:cubicBezTo>
                    <a:pt x="33812" y="21427"/>
                    <a:pt x="26133" y="26215"/>
                    <a:pt x="26133" y="35769"/>
                  </a:cubicBezTo>
                  <a:lnTo>
                    <a:pt x="26133" y="97369"/>
                  </a:lnTo>
                  <a:cubicBezTo>
                    <a:pt x="26133" y="106928"/>
                    <a:pt x="33818" y="111716"/>
                    <a:pt x="46685" y="111716"/>
                  </a:cubicBezTo>
                  <a:cubicBezTo>
                    <a:pt x="59553" y="111716"/>
                    <a:pt x="67434" y="106922"/>
                    <a:pt x="67434" y="97369"/>
                  </a:cubicBezTo>
                  <a:lnTo>
                    <a:pt x="67434" y="3576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D4B1DF1F-88FB-C924-B8B6-F7406B624CE3}"/>
                </a:ext>
              </a:extLst>
            </p:cNvPr>
            <p:cNvSpPr/>
            <p:nvPr/>
          </p:nvSpPr>
          <p:spPr>
            <a:xfrm>
              <a:off x="10747193" y="6634804"/>
              <a:ext cx="156104" cy="130072"/>
            </a:xfrm>
            <a:custGeom>
              <a:avLst/>
              <a:gdLst>
                <a:gd name="connsiteX0" fmla="*/ 108974 w 156104"/>
                <a:gd name="connsiteY0" fmla="*/ 69813 h 130072"/>
                <a:gd name="connsiteX1" fmla="*/ 112046 w 156104"/>
                <a:gd name="connsiteY1" fmla="*/ 88754 h 130072"/>
                <a:gd name="connsiteX2" fmla="*/ 115509 w 156104"/>
                <a:gd name="connsiteY2" fmla="*/ 70008 h 130072"/>
                <a:gd name="connsiteX3" fmla="*/ 132029 w 156104"/>
                <a:gd name="connsiteY3" fmla="*/ 4783 h 130072"/>
                <a:gd name="connsiteX4" fmla="*/ 137592 w 156104"/>
                <a:gd name="connsiteY4" fmla="*/ 0 h 130072"/>
                <a:gd name="connsiteX5" fmla="*/ 152203 w 156104"/>
                <a:gd name="connsiteY5" fmla="*/ 0 h 130072"/>
                <a:gd name="connsiteX6" fmla="*/ 155855 w 156104"/>
                <a:gd name="connsiteY6" fmla="*/ 4783 h 130072"/>
                <a:gd name="connsiteX7" fmla="*/ 125311 w 156104"/>
                <a:gd name="connsiteY7" fmla="*/ 125285 h 130072"/>
                <a:gd name="connsiteX8" fmla="*/ 119357 w 156104"/>
                <a:gd name="connsiteY8" fmla="*/ 130073 h 130072"/>
                <a:gd name="connsiteX9" fmla="*/ 103033 w 156104"/>
                <a:gd name="connsiteY9" fmla="*/ 130073 h 130072"/>
                <a:gd name="connsiteX10" fmla="*/ 97654 w 156104"/>
                <a:gd name="connsiteY10" fmla="*/ 125285 h 130072"/>
                <a:gd name="connsiteX11" fmla="*/ 80743 w 156104"/>
                <a:gd name="connsiteY11" fmla="*/ 58719 h 130072"/>
                <a:gd name="connsiteX12" fmla="*/ 78051 w 156104"/>
                <a:gd name="connsiteY12" fmla="*/ 41313 h 130072"/>
                <a:gd name="connsiteX13" fmla="*/ 75370 w 156104"/>
                <a:gd name="connsiteY13" fmla="*/ 58719 h 130072"/>
                <a:gd name="connsiteX14" fmla="*/ 58464 w 156104"/>
                <a:gd name="connsiteY14" fmla="*/ 125285 h 130072"/>
                <a:gd name="connsiteX15" fmla="*/ 52493 w 156104"/>
                <a:gd name="connsiteY15" fmla="*/ 130073 h 130072"/>
                <a:gd name="connsiteX16" fmla="*/ 36163 w 156104"/>
                <a:gd name="connsiteY16" fmla="*/ 130073 h 130072"/>
                <a:gd name="connsiteX17" fmla="*/ 30790 w 156104"/>
                <a:gd name="connsiteY17" fmla="*/ 125285 h 130072"/>
                <a:gd name="connsiteX18" fmla="*/ 240 w 156104"/>
                <a:gd name="connsiteY18" fmla="*/ 4783 h 130072"/>
                <a:gd name="connsiteX19" fmla="*/ 3899 w 156104"/>
                <a:gd name="connsiteY19" fmla="*/ 0 h 130072"/>
                <a:gd name="connsiteX20" fmla="*/ 21000 w 156104"/>
                <a:gd name="connsiteY20" fmla="*/ 0 h 130072"/>
                <a:gd name="connsiteX21" fmla="*/ 26562 w 156104"/>
                <a:gd name="connsiteY21" fmla="*/ 4783 h 130072"/>
                <a:gd name="connsiteX22" fmla="*/ 42703 w 156104"/>
                <a:gd name="connsiteY22" fmla="*/ 70008 h 130072"/>
                <a:gd name="connsiteX23" fmla="*/ 45775 w 156104"/>
                <a:gd name="connsiteY23" fmla="*/ 86068 h 130072"/>
                <a:gd name="connsiteX24" fmla="*/ 49244 w 156104"/>
                <a:gd name="connsiteY24" fmla="*/ 70008 h 130072"/>
                <a:gd name="connsiteX25" fmla="*/ 65764 w 156104"/>
                <a:gd name="connsiteY25" fmla="*/ 4783 h 130072"/>
                <a:gd name="connsiteX26" fmla="*/ 71516 w 156104"/>
                <a:gd name="connsiteY26" fmla="*/ 0 h 130072"/>
                <a:gd name="connsiteX27" fmla="*/ 87076 w 156104"/>
                <a:gd name="connsiteY27" fmla="*/ 0 h 130072"/>
                <a:gd name="connsiteX28" fmla="*/ 92851 w 156104"/>
                <a:gd name="connsiteY28" fmla="*/ 4783 h 130072"/>
                <a:gd name="connsiteX29" fmla="*/ 108986 w 156104"/>
                <a:gd name="connsiteY29" fmla="*/ 69813 h 13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6104" h="130072">
                  <a:moveTo>
                    <a:pt x="108974" y="69813"/>
                  </a:moveTo>
                  <a:cubicBezTo>
                    <a:pt x="110516" y="76314"/>
                    <a:pt x="111868" y="87030"/>
                    <a:pt x="112046" y="88754"/>
                  </a:cubicBezTo>
                  <a:cubicBezTo>
                    <a:pt x="112236" y="87414"/>
                    <a:pt x="113398" y="78428"/>
                    <a:pt x="115509" y="70008"/>
                  </a:cubicBezTo>
                  <a:lnTo>
                    <a:pt x="132029" y="4783"/>
                  </a:lnTo>
                  <a:cubicBezTo>
                    <a:pt x="132788" y="1724"/>
                    <a:pt x="134324" y="0"/>
                    <a:pt x="137592" y="0"/>
                  </a:cubicBezTo>
                  <a:lnTo>
                    <a:pt x="152203" y="0"/>
                  </a:lnTo>
                  <a:cubicBezTo>
                    <a:pt x="155666" y="0"/>
                    <a:pt x="156626" y="1724"/>
                    <a:pt x="155855" y="4783"/>
                  </a:cubicBezTo>
                  <a:lnTo>
                    <a:pt x="125311" y="125285"/>
                  </a:lnTo>
                  <a:cubicBezTo>
                    <a:pt x="124540" y="128544"/>
                    <a:pt x="122625" y="130073"/>
                    <a:pt x="119357" y="130073"/>
                  </a:cubicBezTo>
                  <a:lnTo>
                    <a:pt x="103033" y="130073"/>
                  </a:lnTo>
                  <a:cubicBezTo>
                    <a:pt x="100139" y="130073"/>
                    <a:pt x="98408" y="128355"/>
                    <a:pt x="97654" y="125285"/>
                  </a:cubicBezTo>
                  <a:lnTo>
                    <a:pt x="80743" y="58719"/>
                  </a:lnTo>
                  <a:cubicBezTo>
                    <a:pt x="79580" y="54527"/>
                    <a:pt x="78234" y="43421"/>
                    <a:pt x="78051" y="41313"/>
                  </a:cubicBezTo>
                  <a:cubicBezTo>
                    <a:pt x="77861" y="43232"/>
                    <a:pt x="76319" y="54905"/>
                    <a:pt x="75370" y="58719"/>
                  </a:cubicBezTo>
                  <a:lnTo>
                    <a:pt x="58464" y="125285"/>
                  </a:lnTo>
                  <a:cubicBezTo>
                    <a:pt x="57682" y="128544"/>
                    <a:pt x="55956" y="130073"/>
                    <a:pt x="52493" y="130073"/>
                  </a:cubicBezTo>
                  <a:lnTo>
                    <a:pt x="36163" y="130073"/>
                  </a:lnTo>
                  <a:cubicBezTo>
                    <a:pt x="33287" y="130073"/>
                    <a:pt x="31561" y="128355"/>
                    <a:pt x="30790" y="125285"/>
                  </a:cubicBezTo>
                  <a:lnTo>
                    <a:pt x="240" y="4783"/>
                  </a:lnTo>
                  <a:cubicBezTo>
                    <a:pt x="-513" y="1724"/>
                    <a:pt x="453" y="0"/>
                    <a:pt x="3899" y="0"/>
                  </a:cubicBezTo>
                  <a:lnTo>
                    <a:pt x="21000" y="0"/>
                  </a:lnTo>
                  <a:cubicBezTo>
                    <a:pt x="24261" y="0"/>
                    <a:pt x="25797" y="1724"/>
                    <a:pt x="26562" y="4783"/>
                  </a:cubicBezTo>
                  <a:lnTo>
                    <a:pt x="42703" y="70008"/>
                  </a:lnTo>
                  <a:cubicBezTo>
                    <a:pt x="44435" y="77087"/>
                    <a:pt x="45775" y="86068"/>
                    <a:pt x="45775" y="86068"/>
                  </a:cubicBezTo>
                  <a:cubicBezTo>
                    <a:pt x="45775" y="86068"/>
                    <a:pt x="46753" y="79756"/>
                    <a:pt x="49244" y="70008"/>
                  </a:cubicBezTo>
                  <a:lnTo>
                    <a:pt x="65764" y="4783"/>
                  </a:lnTo>
                  <a:cubicBezTo>
                    <a:pt x="66529" y="1724"/>
                    <a:pt x="68071" y="0"/>
                    <a:pt x="71516" y="0"/>
                  </a:cubicBezTo>
                  <a:lnTo>
                    <a:pt x="87076" y="0"/>
                  </a:lnTo>
                  <a:cubicBezTo>
                    <a:pt x="90539" y="0"/>
                    <a:pt x="92086" y="1724"/>
                    <a:pt x="92851" y="4783"/>
                  </a:cubicBezTo>
                  <a:lnTo>
                    <a:pt x="108986" y="69813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8CCC3276-99B3-0799-4800-322FC82575BC}"/>
                </a:ext>
              </a:extLst>
            </p:cNvPr>
            <p:cNvSpPr/>
            <p:nvPr/>
          </p:nvSpPr>
          <p:spPr>
            <a:xfrm>
              <a:off x="10921104" y="6634804"/>
              <a:ext cx="77045" cy="130078"/>
            </a:xfrm>
            <a:custGeom>
              <a:avLst/>
              <a:gdLst>
                <a:gd name="connsiteX0" fmla="*/ 4607 w 77045"/>
                <a:gd name="connsiteY0" fmla="*/ 130073 h 130078"/>
                <a:gd name="connsiteX1" fmla="*/ 0 w 77045"/>
                <a:gd name="connsiteY1" fmla="*/ 125107 h 130078"/>
                <a:gd name="connsiteX2" fmla="*/ 0 w 77045"/>
                <a:gd name="connsiteY2" fmla="*/ 4977 h 130078"/>
                <a:gd name="connsiteX3" fmla="*/ 4607 w 77045"/>
                <a:gd name="connsiteY3" fmla="*/ 0 h 130078"/>
                <a:gd name="connsiteX4" fmla="*/ 70310 w 77045"/>
                <a:gd name="connsiteY4" fmla="*/ 0 h 130078"/>
                <a:gd name="connsiteX5" fmla="*/ 75113 w 77045"/>
                <a:gd name="connsiteY5" fmla="*/ 4594 h 130078"/>
                <a:gd name="connsiteX6" fmla="*/ 75113 w 77045"/>
                <a:gd name="connsiteY6" fmla="*/ 16644 h 130078"/>
                <a:gd name="connsiteX7" fmla="*/ 70310 w 77045"/>
                <a:gd name="connsiteY7" fmla="*/ 21427 h 130078"/>
                <a:gd name="connsiteX8" fmla="*/ 25931 w 77045"/>
                <a:gd name="connsiteY8" fmla="*/ 21427 h 130078"/>
                <a:gd name="connsiteX9" fmla="*/ 25931 w 77045"/>
                <a:gd name="connsiteY9" fmla="*/ 52407 h 130078"/>
                <a:gd name="connsiteX10" fmla="*/ 67048 w 77045"/>
                <a:gd name="connsiteY10" fmla="*/ 52407 h 130078"/>
                <a:gd name="connsiteX11" fmla="*/ 72035 w 77045"/>
                <a:gd name="connsiteY11" fmla="*/ 56995 h 130078"/>
                <a:gd name="connsiteX12" fmla="*/ 72035 w 77045"/>
                <a:gd name="connsiteY12" fmla="*/ 68479 h 130078"/>
                <a:gd name="connsiteX13" fmla="*/ 67048 w 77045"/>
                <a:gd name="connsiteY13" fmla="*/ 73066 h 130078"/>
                <a:gd name="connsiteX14" fmla="*/ 25931 w 77045"/>
                <a:gd name="connsiteY14" fmla="*/ 73066 h 130078"/>
                <a:gd name="connsiteX15" fmla="*/ 25931 w 77045"/>
                <a:gd name="connsiteY15" fmla="*/ 108652 h 130078"/>
                <a:gd name="connsiteX16" fmla="*/ 72237 w 77045"/>
                <a:gd name="connsiteY16" fmla="*/ 108652 h 130078"/>
                <a:gd name="connsiteX17" fmla="*/ 77046 w 77045"/>
                <a:gd name="connsiteY17" fmla="*/ 113251 h 130078"/>
                <a:gd name="connsiteX18" fmla="*/ 77046 w 77045"/>
                <a:gd name="connsiteY18" fmla="*/ 125290 h 130078"/>
                <a:gd name="connsiteX19" fmla="*/ 72237 w 77045"/>
                <a:gd name="connsiteY19" fmla="*/ 130079 h 130078"/>
                <a:gd name="connsiteX20" fmla="*/ 4607 w 77045"/>
                <a:gd name="connsiteY20" fmla="*/ 130079 h 130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045" h="130078">
                  <a:moveTo>
                    <a:pt x="4607" y="130073"/>
                  </a:moveTo>
                  <a:cubicBezTo>
                    <a:pt x="1156" y="130073"/>
                    <a:pt x="0" y="128550"/>
                    <a:pt x="0" y="125107"/>
                  </a:cubicBezTo>
                  <a:lnTo>
                    <a:pt x="0" y="4977"/>
                  </a:lnTo>
                  <a:cubicBezTo>
                    <a:pt x="0" y="1523"/>
                    <a:pt x="1156" y="0"/>
                    <a:pt x="4607" y="0"/>
                  </a:cubicBezTo>
                  <a:lnTo>
                    <a:pt x="70310" y="0"/>
                  </a:lnTo>
                  <a:cubicBezTo>
                    <a:pt x="73595" y="0"/>
                    <a:pt x="75113" y="1151"/>
                    <a:pt x="75113" y="4594"/>
                  </a:cubicBezTo>
                  <a:lnTo>
                    <a:pt x="75113" y="16644"/>
                  </a:lnTo>
                  <a:cubicBezTo>
                    <a:pt x="75113" y="20087"/>
                    <a:pt x="73595" y="21427"/>
                    <a:pt x="70310" y="21427"/>
                  </a:cubicBezTo>
                  <a:lnTo>
                    <a:pt x="25931" y="21427"/>
                  </a:lnTo>
                  <a:lnTo>
                    <a:pt x="25931" y="52407"/>
                  </a:lnTo>
                  <a:lnTo>
                    <a:pt x="67048" y="52407"/>
                  </a:lnTo>
                  <a:cubicBezTo>
                    <a:pt x="70505" y="52407"/>
                    <a:pt x="72035" y="53558"/>
                    <a:pt x="72035" y="56995"/>
                  </a:cubicBezTo>
                  <a:lnTo>
                    <a:pt x="72035" y="68479"/>
                  </a:lnTo>
                  <a:cubicBezTo>
                    <a:pt x="72035" y="71726"/>
                    <a:pt x="70505" y="73066"/>
                    <a:pt x="67048" y="73066"/>
                  </a:cubicBezTo>
                  <a:lnTo>
                    <a:pt x="25931" y="73066"/>
                  </a:lnTo>
                  <a:lnTo>
                    <a:pt x="25931" y="108652"/>
                  </a:lnTo>
                  <a:lnTo>
                    <a:pt x="72237" y="108652"/>
                  </a:lnTo>
                  <a:cubicBezTo>
                    <a:pt x="75688" y="108652"/>
                    <a:pt x="77046" y="109791"/>
                    <a:pt x="77046" y="113251"/>
                  </a:cubicBezTo>
                  <a:lnTo>
                    <a:pt x="77046" y="125290"/>
                  </a:lnTo>
                  <a:cubicBezTo>
                    <a:pt x="77046" y="128733"/>
                    <a:pt x="75688" y="130079"/>
                    <a:pt x="72237" y="130079"/>
                  </a:cubicBezTo>
                  <a:lnTo>
                    <a:pt x="4607" y="13007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247DA3DF-2316-89BC-C157-2B37936370D8}"/>
                </a:ext>
              </a:extLst>
            </p:cNvPr>
            <p:cNvSpPr/>
            <p:nvPr/>
          </p:nvSpPr>
          <p:spPr>
            <a:xfrm>
              <a:off x="11019467" y="6634810"/>
              <a:ext cx="91450" cy="130067"/>
            </a:xfrm>
            <a:custGeom>
              <a:avLst/>
              <a:gdLst>
                <a:gd name="connsiteX0" fmla="*/ 25931 w 91450"/>
                <a:gd name="connsiteY0" fmla="*/ 80530 h 130067"/>
                <a:gd name="connsiteX1" fmla="*/ 25931 w 91450"/>
                <a:gd name="connsiteY1" fmla="*/ 125101 h 130067"/>
                <a:gd name="connsiteX2" fmla="*/ 21324 w 91450"/>
                <a:gd name="connsiteY2" fmla="*/ 130067 h 130067"/>
                <a:gd name="connsiteX3" fmla="*/ 4625 w 91450"/>
                <a:gd name="connsiteY3" fmla="*/ 130067 h 130067"/>
                <a:gd name="connsiteX4" fmla="*/ 0 w 91450"/>
                <a:gd name="connsiteY4" fmla="*/ 125101 h 130067"/>
                <a:gd name="connsiteX5" fmla="*/ 0 w 91450"/>
                <a:gd name="connsiteY5" fmla="*/ 4971 h 130067"/>
                <a:gd name="connsiteX6" fmla="*/ 4625 w 91450"/>
                <a:gd name="connsiteY6" fmla="*/ 0 h 130067"/>
                <a:gd name="connsiteX7" fmla="*/ 44954 w 91450"/>
                <a:gd name="connsiteY7" fmla="*/ 0 h 130067"/>
                <a:gd name="connsiteX8" fmla="*/ 91449 w 91450"/>
                <a:gd name="connsiteY8" fmla="*/ 31175 h 130067"/>
                <a:gd name="connsiteX9" fmla="*/ 91449 w 91450"/>
                <a:gd name="connsiteY9" fmla="*/ 49349 h 130067"/>
                <a:gd name="connsiteX10" fmla="*/ 70327 w 91450"/>
                <a:gd name="connsiteY10" fmla="*/ 76898 h 130067"/>
                <a:gd name="connsiteX11" fmla="*/ 91064 w 91450"/>
                <a:gd name="connsiteY11" fmla="*/ 125101 h 130067"/>
                <a:gd name="connsiteX12" fmla="*/ 86646 w 91450"/>
                <a:gd name="connsiteY12" fmla="*/ 130067 h 130067"/>
                <a:gd name="connsiteX13" fmla="*/ 69752 w 91450"/>
                <a:gd name="connsiteY13" fmla="*/ 130067 h 130067"/>
                <a:gd name="connsiteX14" fmla="*/ 64937 w 91450"/>
                <a:gd name="connsiteY14" fmla="*/ 125101 h 130067"/>
                <a:gd name="connsiteX15" fmla="*/ 46110 w 91450"/>
                <a:gd name="connsiteY15" fmla="*/ 80530 h 130067"/>
                <a:gd name="connsiteX16" fmla="*/ 25931 w 91450"/>
                <a:gd name="connsiteY16" fmla="*/ 80530 h 130067"/>
                <a:gd name="connsiteX17" fmla="*/ 25931 w 91450"/>
                <a:gd name="connsiteY17" fmla="*/ 21415 h 130067"/>
                <a:gd name="connsiteX18" fmla="*/ 25931 w 91450"/>
                <a:gd name="connsiteY18" fmla="*/ 59097 h 130067"/>
                <a:gd name="connsiteX19" fmla="*/ 44948 w 91450"/>
                <a:gd name="connsiteY19" fmla="*/ 59097 h 130067"/>
                <a:gd name="connsiteX20" fmla="*/ 65708 w 91450"/>
                <a:gd name="connsiteY20" fmla="*/ 44749 h 130067"/>
                <a:gd name="connsiteX21" fmla="*/ 65708 w 91450"/>
                <a:gd name="connsiteY21" fmla="*/ 35769 h 130067"/>
                <a:gd name="connsiteX22" fmla="*/ 44948 w 91450"/>
                <a:gd name="connsiteY22" fmla="*/ 21415 h 130067"/>
                <a:gd name="connsiteX23" fmla="*/ 25931 w 91450"/>
                <a:gd name="connsiteY23" fmla="*/ 21415 h 13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1450" h="130067">
                  <a:moveTo>
                    <a:pt x="25931" y="80530"/>
                  </a:moveTo>
                  <a:lnTo>
                    <a:pt x="25931" y="125101"/>
                  </a:lnTo>
                  <a:cubicBezTo>
                    <a:pt x="25931" y="128544"/>
                    <a:pt x="24781" y="130067"/>
                    <a:pt x="21324" y="130067"/>
                  </a:cubicBezTo>
                  <a:lnTo>
                    <a:pt x="4625" y="130067"/>
                  </a:lnTo>
                  <a:cubicBezTo>
                    <a:pt x="1156" y="130067"/>
                    <a:pt x="0" y="128544"/>
                    <a:pt x="0" y="125101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25" y="0"/>
                  </a:cubicBezTo>
                  <a:lnTo>
                    <a:pt x="44954" y="0"/>
                  </a:lnTo>
                  <a:cubicBezTo>
                    <a:pt x="79732" y="0"/>
                    <a:pt x="91449" y="15109"/>
                    <a:pt x="91449" y="31175"/>
                  </a:cubicBezTo>
                  <a:lnTo>
                    <a:pt x="91449" y="49349"/>
                  </a:lnTo>
                  <a:cubicBezTo>
                    <a:pt x="91449" y="60632"/>
                    <a:pt x="85679" y="71348"/>
                    <a:pt x="70327" y="76898"/>
                  </a:cubicBezTo>
                  <a:lnTo>
                    <a:pt x="91064" y="125101"/>
                  </a:lnTo>
                  <a:cubicBezTo>
                    <a:pt x="92404" y="128160"/>
                    <a:pt x="90103" y="130067"/>
                    <a:pt x="86646" y="130067"/>
                  </a:cubicBezTo>
                  <a:lnTo>
                    <a:pt x="69752" y="130067"/>
                  </a:lnTo>
                  <a:cubicBezTo>
                    <a:pt x="67054" y="130067"/>
                    <a:pt x="66289" y="128154"/>
                    <a:pt x="64937" y="125101"/>
                  </a:cubicBezTo>
                  <a:lnTo>
                    <a:pt x="46110" y="80530"/>
                  </a:lnTo>
                  <a:lnTo>
                    <a:pt x="25931" y="80530"/>
                  </a:lnTo>
                  <a:close/>
                  <a:moveTo>
                    <a:pt x="25931" y="21415"/>
                  </a:moveTo>
                  <a:lnTo>
                    <a:pt x="25931" y="59097"/>
                  </a:lnTo>
                  <a:lnTo>
                    <a:pt x="44948" y="59097"/>
                  </a:lnTo>
                  <a:cubicBezTo>
                    <a:pt x="57821" y="59097"/>
                    <a:pt x="65708" y="54320"/>
                    <a:pt x="65708" y="44749"/>
                  </a:cubicBezTo>
                  <a:lnTo>
                    <a:pt x="65708" y="35769"/>
                  </a:lnTo>
                  <a:cubicBezTo>
                    <a:pt x="65708" y="26204"/>
                    <a:pt x="57827" y="21415"/>
                    <a:pt x="44948" y="21415"/>
                  </a:cubicBezTo>
                  <a:lnTo>
                    <a:pt x="25931" y="21415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D5711EE-BA0F-B5B0-2766-9B66CB1048F7}"/>
                </a:ext>
              </a:extLst>
            </p:cNvPr>
            <p:cNvSpPr/>
            <p:nvPr/>
          </p:nvSpPr>
          <p:spPr>
            <a:xfrm>
              <a:off x="11158663" y="6634615"/>
              <a:ext cx="2698" cy="130887"/>
            </a:xfrm>
            <a:custGeom>
              <a:avLst/>
              <a:gdLst>
                <a:gd name="connsiteX0" fmla="*/ 0 w 2698"/>
                <a:gd name="connsiteY0" fmla="*/ 0 h 130887"/>
                <a:gd name="connsiteX1" fmla="*/ 2698 w 2698"/>
                <a:gd name="connsiteY1" fmla="*/ 0 h 130887"/>
                <a:gd name="connsiteX2" fmla="*/ 2698 w 2698"/>
                <a:gd name="connsiteY2" fmla="*/ 130888 h 130887"/>
                <a:gd name="connsiteX3" fmla="*/ 0 w 2698"/>
                <a:gd name="connsiteY3" fmla="*/ 130888 h 130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8" h="130887">
                  <a:moveTo>
                    <a:pt x="0" y="0"/>
                  </a:moveTo>
                  <a:lnTo>
                    <a:pt x="2698" y="0"/>
                  </a:lnTo>
                  <a:lnTo>
                    <a:pt x="2698" y="130888"/>
                  </a:lnTo>
                  <a:lnTo>
                    <a:pt x="0" y="13088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FF244116-A9C7-D73E-79F3-7916F4C21957}"/>
                </a:ext>
              </a:extLst>
            </p:cNvPr>
            <p:cNvSpPr/>
            <p:nvPr/>
          </p:nvSpPr>
          <p:spPr>
            <a:xfrm>
              <a:off x="11206955" y="6634013"/>
              <a:ext cx="41295" cy="57537"/>
            </a:xfrm>
            <a:custGeom>
              <a:avLst/>
              <a:gdLst>
                <a:gd name="connsiteX0" fmla="*/ 1785 w 41295"/>
                <a:gd name="connsiteY0" fmla="*/ 57538 h 57537"/>
                <a:gd name="connsiteX1" fmla="*/ 0 w 41295"/>
                <a:gd name="connsiteY1" fmla="*/ 55336 h 57537"/>
                <a:gd name="connsiteX2" fmla="*/ 0 w 41295"/>
                <a:gd name="connsiteY2" fmla="*/ 2202 h 57537"/>
                <a:gd name="connsiteX3" fmla="*/ 2040 w 41295"/>
                <a:gd name="connsiteY3" fmla="*/ 0 h 57537"/>
                <a:gd name="connsiteX4" fmla="*/ 20564 w 41295"/>
                <a:gd name="connsiteY4" fmla="*/ 0 h 57537"/>
                <a:gd name="connsiteX5" fmla="*/ 41295 w 41295"/>
                <a:gd name="connsiteY5" fmla="*/ 13793 h 57537"/>
                <a:gd name="connsiteX6" fmla="*/ 41295 w 41295"/>
                <a:gd name="connsiteY6" fmla="*/ 43745 h 57537"/>
                <a:gd name="connsiteX7" fmla="*/ 20564 w 41295"/>
                <a:gd name="connsiteY7" fmla="*/ 57538 h 57537"/>
                <a:gd name="connsiteX8" fmla="*/ 1779 w 41295"/>
                <a:gd name="connsiteY8" fmla="*/ 57538 h 57537"/>
                <a:gd name="connsiteX9" fmla="*/ 11468 w 41295"/>
                <a:gd name="connsiteY9" fmla="*/ 9476 h 57537"/>
                <a:gd name="connsiteX10" fmla="*/ 11468 w 41295"/>
                <a:gd name="connsiteY10" fmla="*/ 48061 h 57537"/>
                <a:gd name="connsiteX11" fmla="*/ 20564 w 41295"/>
                <a:gd name="connsiteY11" fmla="*/ 48061 h 57537"/>
                <a:gd name="connsiteX12" fmla="*/ 29821 w 41295"/>
                <a:gd name="connsiteY12" fmla="*/ 41714 h 57537"/>
                <a:gd name="connsiteX13" fmla="*/ 29821 w 41295"/>
                <a:gd name="connsiteY13" fmla="*/ 15824 h 57537"/>
                <a:gd name="connsiteX14" fmla="*/ 20564 w 41295"/>
                <a:gd name="connsiteY14" fmla="*/ 9476 h 57537"/>
                <a:gd name="connsiteX15" fmla="*/ 11468 w 41295"/>
                <a:gd name="connsiteY15" fmla="*/ 9476 h 5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295" h="57537">
                  <a:moveTo>
                    <a:pt x="1785" y="57538"/>
                  </a:moveTo>
                  <a:cubicBezTo>
                    <a:pt x="427" y="57538"/>
                    <a:pt x="0" y="56776"/>
                    <a:pt x="0" y="55336"/>
                  </a:cubicBezTo>
                  <a:lnTo>
                    <a:pt x="0" y="2202"/>
                  </a:lnTo>
                  <a:cubicBezTo>
                    <a:pt x="0" y="679"/>
                    <a:pt x="510" y="0"/>
                    <a:pt x="2040" y="0"/>
                  </a:cubicBezTo>
                  <a:lnTo>
                    <a:pt x="20564" y="0"/>
                  </a:lnTo>
                  <a:cubicBezTo>
                    <a:pt x="35946" y="0"/>
                    <a:pt x="41295" y="6684"/>
                    <a:pt x="41295" y="13793"/>
                  </a:cubicBezTo>
                  <a:lnTo>
                    <a:pt x="41295" y="43745"/>
                  </a:lnTo>
                  <a:cubicBezTo>
                    <a:pt x="41295" y="50854"/>
                    <a:pt x="35940" y="57538"/>
                    <a:pt x="20564" y="57538"/>
                  </a:cubicBezTo>
                  <a:lnTo>
                    <a:pt x="1779" y="57538"/>
                  </a:lnTo>
                  <a:close/>
                  <a:moveTo>
                    <a:pt x="11468" y="9476"/>
                  </a:moveTo>
                  <a:lnTo>
                    <a:pt x="11468" y="48061"/>
                  </a:lnTo>
                  <a:lnTo>
                    <a:pt x="20564" y="48061"/>
                  </a:lnTo>
                  <a:cubicBezTo>
                    <a:pt x="26340" y="48061"/>
                    <a:pt x="29821" y="45942"/>
                    <a:pt x="29821" y="41714"/>
                  </a:cubicBezTo>
                  <a:lnTo>
                    <a:pt x="29821" y="15824"/>
                  </a:lnTo>
                  <a:cubicBezTo>
                    <a:pt x="29821" y="11590"/>
                    <a:pt x="26340" y="9476"/>
                    <a:pt x="20564" y="9476"/>
                  </a:cubicBezTo>
                  <a:lnTo>
                    <a:pt x="11468" y="947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CF7C0390-2494-CDB8-799A-FC95790AE494}"/>
                </a:ext>
              </a:extLst>
            </p:cNvPr>
            <p:cNvSpPr/>
            <p:nvPr/>
          </p:nvSpPr>
          <p:spPr>
            <a:xfrm>
              <a:off x="11257436" y="6648738"/>
              <a:ext cx="34499" cy="43491"/>
            </a:xfrm>
            <a:custGeom>
              <a:avLst/>
              <a:gdLst>
                <a:gd name="connsiteX0" fmla="*/ 34494 w 34499"/>
                <a:gd name="connsiteY0" fmla="*/ 22248 h 43491"/>
                <a:gd name="connsiteX1" fmla="*/ 32626 w 34499"/>
                <a:gd name="connsiteY1" fmla="*/ 24196 h 43491"/>
                <a:gd name="connsiteX2" fmla="*/ 10875 w 34499"/>
                <a:gd name="connsiteY2" fmla="*/ 24196 h 43491"/>
                <a:gd name="connsiteX3" fmla="*/ 10875 w 34499"/>
                <a:gd name="connsiteY3" fmla="*/ 30461 h 43491"/>
                <a:gd name="connsiteX4" fmla="*/ 17505 w 34499"/>
                <a:gd name="connsiteY4" fmla="*/ 35113 h 43491"/>
                <a:gd name="connsiteX5" fmla="*/ 24134 w 34499"/>
                <a:gd name="connsiteY5" fmla="*/ 30461 h 43491"/>
                <a:gd name="connsiteX6" fmla="*/ 24134 w 34499"/>
                <a:gd name="connsiteY6" fmla="*/ 30035 h 43491"/>
                <a:gd name="connsiteX7" fmla="*/ 26257 w 34499"/>
                <a:gd name="connsiteY7" fmla="*/ 27922 h 43491"/>
                <a:gd name="connsiteX8" fmla="*/ 32205 w 34499"/>
                <a:gd name="connsiteY8" fmla="*/ 27922 h 43491"/>
                <a:gd name="connsiteX9" fmla="*/ 34328 w 34499"/>
                <a:gd name="connsiteY9" fmla="*/ 30035 h 43491"/>
                <a:gd name="connsiteX10" fmla="*/ 34328 w 34499"/>
                <a:gd name="connsiteY10" fmla="*/ 30968 h 43491"/>
                <a:gd name="connsiteX11" fmla="*/ 17416 w 34499"/>
                <a:gd name="connsiteY11" fmla="*/ 43491 h 43491"/>
                <a:gd name="connsiteX12" fmla="*/ 0 w 34499"/>
                <a:gd name="connsiteY12" fmla="*/ 30968 h 43491"/>
                <a:gd name="connsiteX13" fmla="*/ 0 w 34499"/>
                <a:gd name="connsiteY13" fmla="*/ 12435 h 43491"/>
                <a:gd name="connsiteX14" fmla="*/ 17505 w 34499"/>
                <a:gd name="connsiteY14" fmla="*/ 0 h 43491"/>
                <a:gd name="connsiteX15" fmla="*/ 34499 w 34499"/>
                <a:gd name="connsiteY15" fmla="*/ 12435 h 43491"/>
                <a:gd name="connsiteX16" fmla="*/ 34499 w 34499"/>
                <a:gd name="connsiteY16" fmla="*/ 22254 h 43491"/>
                <a:gd name="connsiteX17" fmla="*/ 10869 w 34499"/>
                <a:gd name="connsiteY17" fmla="*/ 16751 h 43491"/>
                <a:gd name="connsiteX18" fmla="*/ 24128 w 34499"/>
                <a:gd name="connsiteY18" fmla="*/ 16751 h 43491"/>
                <a:gd name="connsiteX19" fmla="*/ 24128 w 34499"/>
                <a:gd name="connsiteY19" fmla="*/ 13025 h 43491"/>
                <a:gd name="connsiteX20" fmla="*/ 17499 w 34499"/>
                <a:gd name="connsiteY20" fmla="*/ 8372 h 43491"/>
                <a:gd name="connsiteX21" fmla="*/ 10869 w 34499"/>
                <a:gd name="connsiteY21" fmla="*/ 13025 h 43491"/>
                <a:gd name="connsiteX22" fmla="*/ 10869 w 34499"/>
                <a:gd name="connsiteY22" fmla="*/ 16751 h 43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499" h="43491">
                  <a:moveTo>
                    <a:pt x="34494" y="22248"/>
                  </a:moveTo>
                  <a:cubicBezTo>
                    <a:pt x="34494" y="23600"/>
                    <a:pt x="33984" y="24196"/>
                    <a:pt x="32626" y="24196"/>
                  </a:cubicBezTo>
                  <a:lnTo>
                    <a:pt x="10875" y="24196"/>
                  </a:lnTo>
                  <a:lnTo>
                    <a:pt x="10875" y="30461"/>
                  </a:lnTo>
                  <a:cubicBezTo>
                    <a:pt x="10875" y="33419"/>
                    <a:pt x="12488" y="35113"/>
                    <a:pt x="17505" y="35113"/>
                  </a:cubicBezTo>
                  <a:cubicBezTo>
                    <a:pt x="22521" y="35113"/>
                    <a:pt x="24134" y="33419"/>
                    <a:pt x="24134" y="30461"/>
                  </a:cubicBezTo>
                  <a:lnTo>
                    <a:pt x="24134" y="30035"/>
                  </a:lnTo>
                  <a:cubicBezTo>
                    <a:pt x="24134" y="28595"/>
                    <a:pt x="24727" y="27922"/>
                    <a:pt x="26257" y="27922"/>
                  </a:cubicBezTo>
                  <a:lnTo>
                    <a:pt x="32205" y="27922"/>
                  </a:lnTo>
                  <a:cubicBezTo>
                    <a:pt x="33652" y="27922"/>
                    <a:pt x="34328" y="28595"/>
                    <a:pt x="34328" y="30035"/>
                  </a:cubicBezTo>
                  <a:lnTo>
                    <a:pt x="34328" y="30968"/>
                  </a:lnTo>
                  <a:cubicBezTo>
                    <a:pt x="34328" y="38585"/>
                    <a:pt x="29910" y="43491"/>
                    <a:pt x="17416" y="43491"/>
                  </a:cubicBezTo>
                  <a:cubicBezTo>
                    <a:pt x="4922" y="43491"/>
                    <a:pt x="0" y="38585"/>
                    <a:pt x="0" y="30968"/>
                  </a:cubicBezTo>
                  <a:lnTo>
                    <a:pt x="0" y="12435"/>
                  </a:lnTo>
                  <a:cubicBezTo>
                    <a:pt x="0" y="4907"/>
                    <a:pt x="5011" y="0"/>
                    <a:pt x="17505" y="0"/>
                  </a:cubicBezTo>
                  <a:cubicBezTo>
                    <a:pt x="29999" y="0"/>
                    <a:pt x="34499" y="4907"/>
                    <a:pt x="34499" y="12435"/>
                  </a:cubicBezTo>
                  <a:lnTo>
                    <a:pt x="34499" y="22254"/>
                  </a:lnTo>
                  <a:close/>
                  <a:moveTo>
                    <a:pt x="10869" y="16751"/>
                  </a:moveTo>
                  <a:lnTo>
                    <a:pt x="24128" y="16751"/>
                  </a:lnTo>
                  <a:lnTo>
                    <a:pt x="24128" y="13025"/>
                  </a:lnTo>
                  <a:cubicBezTo>
                    <a:pt x="24128" y="10067"/>
                    <a:pt x="22260" y="8372"/>
                    <a:pt x="17499" y="8372"/>
                  </a:cubicBezTo>
                  <a:cubicBezTo>
                    <a:pt x="12737" y="8372"/>
                    <a:pt x="10869" y="10067"/>
                    <a:pt x="10869" y="13025"/>
                  </a:cubicBezTo>
                  <a:lnTo>
                    <a:pt x="10869" y="16751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1E8E2605-54ED-890A-44A5-24CAED99A908}"/>
                </a:ext>
              </a:extLst>
            </p:cNvPr>
            <p:cNvSpPr/>
            <p:nvPr/>
          </p:nvSpPr>
          <p:spPr>
            <a:xfrm>
              <a:off x="11206944" y="6705987"/>
              <a:ext cx="51595" cy="57537"/>
            </a:xfrm>
            <a:custGeom>
              <a:avLst/>
              <a:gdLst>
                <a:gd name="connsiteX0" fmla="*/ 51595 w 51595"/>
                <a:gd name="connsiteY0" fmla="*/ 55424 h 57537"/>
                <a:gd name="connsiteX1" fmla="*/ 49555 w 51595"/>
                <a:gd name="connsiteY1" fmla="*/ 57538 h 57537"/>
                <a:gd name="connsiteX2" fmla="*/ 42499 w 51595"/>
                <a:gd name="connsiteY2" fmla="*/ 57538 h 57537"/>
                <a:gd name="connsiteX3" fmla="*/ 40459 w 51595"/>
                <a:gd name="connsiteY3" fmla="*/ 55424 h 57537"/>
                <a:gd name="connsiteX4" fmla="*/ 40459 w 51595"/>
                <a:gd name="connsiteY4" fmla="*/ 23269 h 57537"/>
                <a:gd name="connsiteX5" fmla="*/ 37992 w 51595"/>
                <a:gd name="connsiteY5" fmla="*/ 30968 h 57537"/>
                <a:gd name="connsiteX6" fmla="*/ 31529 w 51595"/>
                <a:gd name="connsiteY6" fmla="*/ 46703 h 57537"/>
                <a:gd name="connsiteX7" fmla="*/ 28724 w 51595"/>
                <a:gd name="connsiteY7" fmla="*/ 48817 h 57537"/>
                <a:gd name="connsiteX8" fmla="*/ 22693 w 51595"/>
                <a:gd name="connsiteY8" fmla="*/ 48817 h 57537"/>
                <a:gd name="connsiteX9" fmla="*/ 19972 w 51595"/>
                <a:gd name="connsiteY9" fmla="*/ 46703 h 57537"/>
                <a:gd name="connsiteX10" fmla="*/ 12749 w 51595"/>
                <a:gd name="connsiteY10" fmla="*/ 29693 h 57537"/>
                <a:gd name="connsiteX11" fmla="*/ 10792 w 51595"/>
                <a:gd name="connsiteY11" fmla="*/ 23434 h 57537"/>
                <a:gd name="connsiteX12" fmla="*/ 10792 w 51595"/>
                <a:gd name="connsiteY12" fmla="*/ 55418 h 57537"/>
                <a:gd name="connsiteX13" fmla="*/ 8752 w 51595"/>
                <a:gd name="connsiteY13" fmla="*/ 57532 h 57537"/>
                <a:gd name="connsiteX14" fmla="*/ 2040 w 51595"/>
                <a:gd name="connsiteY14" fmla="*/ 57532 h 57537"/>
                <a:gd name="connsiteX15" fmla="*/ 0 w 51595"/>
                <a:gd name="connsiteY15" fmla="*/ 55418 h 57537"/>
                <a:gd name="connsiteX16" fmla="*/ 0 w 51595"/>
                <a:gd name="connsiteY16" fmla="*/ 2114 h 57537"/>
                <a:gd name="connsiteX17" fmla="*/ 2040 w 51595"/>
                <a:gd name="connsiteY17" fmla="*/ 0 h 57537"/>
                <a:gd name="connsiteX18" fmla="*/ 8752 w 51595"/>
                <a:gd name="connsiteY18" fmla="*/ 0 h 57537"/>
                <a:gd name="connsiteX19" fmla="*/ 10620 w 51595"/>
                <a:gd name="connsiteY19" fmla="*/ 1187 h 57537"/>
                <a:gd name="connsiteX20" fmla="*/ 23624 w 51595"/>
                <a:gd name="connsiteY20" fmla="*/ 30714 h 57537"/>
                <a:gd name="connsiteX21" fmla="*/ 25747 w 51595"/>
                <a:gd name="connsiteY21" fmla="*/ 36637 h 57537"/>
                <a:gd name="connsiteX22" fmla="*/ 27953 w 51595"/>
                <a:gd name="connsiteY22" fmla="*/ 30797 h 57537"/>
                <a:gd name="connsiteX23" fmla="*/ 40530 w 51595"/>
                <a:gd name="connsiteY23" fmla="*/ 1016 h 57537"/>
                <a:gd name="connsiteX24" fmla="*/ 42487 w 51595"/>
                <a:gd name="connsiteY24" fmla="*/ 0 h 57537"/>
                <a:gd name="connsiteX25" fmla="*/ 49543 w 51595"/>
                <a:gd name="connsiteY25" fmla="*/ 0 h 57537"/>
                <a:gd name="connsiteX26" fmla="*/ 51583 w 51595"/>
                <a:gd name="connsiteY26" fmla="*/ 2114 h 57537"/>
                <a:gd name="connsiteX27" fmla="*/ 51583 w 51595"/>
                <a:gd name="connsiteY27" fmla="*/ 55418 h 5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1595" h="57537">
                  <a:moveTo>
                    <a:pt x="51595" y="55424"/>
                  </a:moveTo>
                  <a:cubicBezTo>
                    <a:pt x="51595" y="56865"/>
                    <a:pt x="51085" y="57538"/>
                    <a:pt x="49555" y="57538"/>
                  </a:cubicBezTo>
                  <a:lnTo>
                    <a:pt x="42499" y="57538"/>
                  </a:lnTo>
                  <a:cubicBezTo>
                    <a:pt x="40969" y="57538"/>
                    <a:pt x="40459" y="56865"/>
                    <a:pt x="40459" y="55424"/>
                  </a:cubicBezTo>
                  <a:lnTo>
                    <a:pt x="40459" y="23269"/>
                  </a:lnTo>
                  <a:cubicBezTo>
                    <a:pt x="40376" y="23523"/>
                    <a:pt x="38846" y="28683"/>
                    <a:pt x="37992" y="30968"/>
                  </a:cubicBezTo>
                  <a:lnTo>
                    <a:pt x="31529" y="46703"/>
                  </a:lnTo>
                  <a:cubicBezTo>
                    <a:pt x="30936" y="48056"/>
                    <a:pt x="30171" y="48817"/>
                    <a:pt x="28724" y="48817"/>
                  </a:cubicBezTo>
                  <a:lnTo>
                    <a:pt x="22693" y="48817"/>
                  </a:lnTo>
                  <a:cubicBezTo>
                    <a:pt x="21246" y="48817"/>
                    <a:pt x="20487" y="47973"/>
                    <a:pt x="19972" y="46703"/>
                  </a:cubicBezTo>
                  <a:lnTo>
                    <a:pt x="12749" y="29693"/>
                  </a:lnTo>
                  <a:cubicBezTo>
                    <a:pt x="11895" y="27916"/>
                    <a:pt x="10881" y="24025"/>
                    <a:pt x="10792" y="23434"/>
                  </a:cubicBezTo>
                  <a:lnTo>
                    <a:pt x="10792" y="55418"/>
                  </a:lnTo>
                  <a:cubicBezTo>
                    <a:pt x="10792" y="56859"/>
                    <a:pt x="10282" y="57532"/>
                    <a:pt x="8752" y="57532"/>
                  </a:cubicBezTo>
                  <a:lnTo>
                    <a:pt x="2040" y="57532"/>
                  </a:lnTo>
                  <a:cubicBezTo>
                    <a:pt x="510" y="57532"/>
                    <a:pt x="0" y="56859"/>
                    <a:pt x="0" y="55418"/>
                  </a:cubicBezTo>
                  <a:lnTo>
                    <a:pt x="0" y="2114"/>
                  </a:lnTo>
                  <a:cubicBezTo>
                    <a:pt x="0" y="673"/>
                    <a:pt x="510" y="0"/>
                    <a:pt x="2040" y="0"/>
                  </a:cubicBezTo>
                  <a:lnTo>
                    <a:pt x="8752" y="0"/>
                  </a:lnTo>
                  <a:cubicBezTo>
                    <a:pt x="9855" y="0"/>
                    <a:pt x="10276" y="425"/>
                    <a:pt x="10620" y="1187"/>
                  </a:cubicBezTo>
                  <a:lnTo>
                    <a:pt x="23624" y="30714"/>
                  </a:lnTo>
                  <a:cubicBezTo>
                    <a:pt x="24644" y="32999"/>
                    <a:pt x="25747" y="36637"/>
                    <a:pt x="25747" y="36637"/>
                  </a:cubicBezTo>
                  <a:cubicBezTo>
                    <a:pt x="25747" y="36637"/>
                    <a:pt x="26850" y="33336"/>
                    <a:pt x="27953" y="30797"/>
                  </a:cubicBezTo>
                  <a:lnTo>
                    <a:pt x="40530" y="1016"/>
                  </a:lnTo>
                  <a:cubicBezTo>
                    <a:pt x="40874" y="254"/>
                    <a:pt x="41467" y="0"/>
                    <a:pt x="42487" y="0"/>
                  </a:cubicBezTo>
                  <a:lnTo>
                    <a:pt x="49543" y="0"/>
                  </a:lnTo>
                  <a:cubicBezTo>
                    <a:pt x="51073" y="0"/>
                    <a:pt x="51583" y="679"/>
                    <a:pt x="51583" y="2114"/>
                  </a:cubicBezTo>
                  <a:lnTo>
                    <a:pt x="51583" y="5541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D1143025-758F-2FD2-1447-D508079D8A50}"/>
                </a:ext>
              </a:extLst>
            </p:cNvPr>
            <p:cNvSpPr/>
            <p:nvPr/>
          </p:nvSpPr>
          <p:spPr>
            <a:xfrm>
              <a:off x="11307122" y="6721391"/>
              <a:ext cx="38532" cy="42133"/>
            </a:xfrm>
            <a:custGeom>
              <a:avLst/>
              <a:gdLst>
                <a:gd name="connsiteX0" fmla="*/ 38175 w 38532"/>
                <a:gd name="connsiteY0" fmla="*/ 40020 h 42133"/>
                <a:gd name="connsiteX1" fmla="*/ 37072 w 38532"/>
                <a:gd name="connsiteY1" fmla="*/ 42133 h 42133"/>
                <a:gd name="connsiteX2" fmla="*/ 29423 w 38532"/>
                <a:gd name="connsiteY2" fmla="*/ 42133 h 42133"/>
                <a:gd name="connsiteX3" fmla="*/ 26446 w 38532"/>
                <a:gd name="connsiteY3" fmla="*/ 40020 h 42133"/>
                <a:gd name="connsiteX4" fmla="*/ 18631 w 38532"/>
                <a:gd name="connsiteY4" fmla="*/ 28512 h 42133"/>
                <a:gd name="connsiteX5" fmla="*/ 11153 w 38532"/>
                <a:gd name="connsiteY5" fmla="*/ 40020 h 42133"/>
                <a:gd name="connsiteX6" fmla="*/ 8176 w 38532"/>
                <a:gd name="connsiteY6" fmla="*/ 42133 h 42133"/>
                <a:gd name="connsiteX7" fmla="*/ 1375 w 38532"/>
                <a:gd name="connsiteY7" fmla="*/ 42133 h 42133"/>
                <a:gd name="connsiteX8" fmla="*/ 361 w 38532"/>
                <a:gd name="connsiteY8" fmla="*/ 40020 h 42133"/>
                <a:gd name="connsiteX9" fmla="*/ 13365 w 38532"/>
                <a:gd name="connsiteY9" fmla="*/ 20648 h 42133"/>
                <a:gd name="connsiteX10" fmla="*/ 954 w 38532"/>
                <a:gd name="connsiteY10" fmla="*/ 2114 h 42133"/>
                <a:gd name="connsiteX11" fmla="*/ 1974 w 38532"/>
                <a:gd name="connsiteY11" fmla="*/ 0 h 42133"/>
                <a:gd name="connsiteX12" fmla="*/ 9623 w 38532"/>
                <a:gd name="connsiteY12" fmla="*/ 0 h 42133"/>
                <a:gd name="connsiteX13" fmla="*/ 12766 w 38532"/>
                <a:gd name="connsiteY13" fmla="*/ 2114 h 42133"/>
                <a:gd name="connsiteX14" fmla="*/ 20161 w 38532"/>
                <a:gd name="connsiteY14" fmla="*/ 13114 h 42133"/>
                <a:gd name="connsiteX15" fmla="*/ 27128 w 38532"/>
                <a:gd name="connsiteY15" fmla="*/ 2114 h 42133"/>
                <a:gd name="connsiteX16" fmla="*/ 30188 w 38532"/>
                <a:gd name="connsiteY16" fmla="*/ 0 h 42133"/>
                <a:gd name="connsiteX17" fmla="*/ 36989 w 38532"/>
                <a:gd name="connsiteY17" fmla="*/ 0 h 42133"/>
                <a:gd name="connsiteX18" fmla="*/ 38009 w 38532"/>
                <a:gd name="connsiteY18" fmla="*/ 2114 h 42133"/>
                <a:gd name="connsiteX19" fmla="*/ 25438 w 38532"/>
                <a:gd name="connsiteY19" fmla="*/ 20984 h 42133"/>
                <a:gd name="connsiteX20" fmla="*/ 38181 w 38532"/>
                <a:gd name="connsiteY20" fmla="*/ 40020 h 42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532" h="42133">
                  <a:moveTo>
                    <a:pt x="38175" y="40020"/>
                  </a:moveTo>
                  <a:cubicBezTo>
                    <a:pt x="38857" y="41035"/>
                    <a:pt x="38602" y="42133"/>
                    <a:pt x="37072" y="42133"/>
                  </a:cubicBezTo>
                  <a:lnTo>
                    <a:pt x="29423" y="42133"/>
                  </a:lnTo>
                  <a:cubicBezTo>
                    <a:pt x="27976" y="42133"/>
                    <a:pt x="27128" y="41035"/>
                    <a:pt x="26446" y="40020"/>
                  </a:cubicBezTo>
                  <a:lnTo>
                    <a:pt x="18631" y="28512"/>
                  </a:lnTo>
                  <a:lnTo>
                    <a:pt x="11153" y="40020"/>
                  </a:lnTo>
                  <a:cubicBezTo>
                    <a:pt x="10471" y="41035"/>
                    <a:pt x="9706" y="42133"/>
                    <a:pt x="8176" y="42133"/>
                  </a:cubicBezTo>
                  <a:lnTo>
                    <a:pt x="1375" y="42133"/>
                  </a:lnTo>
                  <a:cubicBezTo>
                    <a:pt x="-66" y="42133"/>
                    <a:pt x="-321" y="41035"/>
                    <a:pt x="361" y="40020"/>
                  </a:cubicBezTo>
                  <a:lnTo>
                    <a:pt x="13365" y="20648"/>
                  </a:lnTo>
                  <a:lnTo>
                    <a:pt x="954" y="2114"/>
                  </a:lnTo>
                  <a:cubicBezTo>
                    <a:pt x="189" y="1016"/>
                    <a:pt x="444" y="0"/>
                    <a:pt x="1974" y="0"/>
                  </a:cubicBezTo>
                  <a:lnTo>
                    <a:pt x="9623" y="0"/>
                  </a:lnTo>
                  <a:cubicBezTo>
                    <a:pt x="11153" y="0"/>
                    <a:pt x="11918" y="933"/>
                    <a:pt x="12766" y="2114"/>
                  </a:cubicBezTo>
                  <a:lnTo>
                    <a:pt x="20161" y="13114"/>
                  </a:lnTo>
                  <a:lnTo>
                    <a:pt x="27128" y="2114"/>
                  </a:lnTo>
                  <a:cubicBezTo>
                    <a:pt x="27893" y="927"/>
                    <a:pt x="28741" y="0"/>
                    <a:pt x="30188" y="0"/>
                  </a:cubicBezTo>
                  <a:lnTo>
                    <a:pt x="36989" y="0"/>
                  </a:lnTo>
                  <a:cubicBezTo>
                    <a:pt x="38436" y="0"/>
                    <a:pt x="38774" y="1016"/>
                    <a:pt x="38009" y="2114"/>
                  </a:cubicBezTo>
                  <a:lnTo>
                    <a:pt x="25438" y="20984"/>
                  </a:lnTo>
                  <a:lnTo>
                    <a:pt x="38181" y="4002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2CF7D24C-60A7-1DB8-9370-2838D262CEF3}"/>
                </a:ext>
              </a:extLst>
            </p:cNvPr>
            <p:cNvSpPr/>
            <p:nvPr/>
          </p:nvSpPr>
          <p:spPr>
            <a:xfrm>
              <a:off x="11351921" y="6704381"/>
              <a:ext cx="11136" cy="59149"/>
            </a:xfrm>
            <a:custGeom>
              <a:avLst/>
              <a:gdLst>
                <a:gd name="connsiteX0" fmla="*/ 11136 w 11136"/>
                <a:gd name="connsiteY0" fmla="*/ 9476 h 59149"/>
                <a:gd name="connsiteX1" fmla="*/ 9179 w 11136"/>
                <a:gd name="connsiteY1" fmla="*/ 11508 h 59149"/>
                <a:gd name="connsiteX2" fmla="*/ 2129 w 11136"/>
                <a:gd name="connsiteY2" fmla="*/ 11508 h 59149"/>
                <a:gd name="connsiteX3" fmla="*/ 0 w 11136"/>
                <a:gd name="connsiteY3" fmla="*/ 9476 h 59149"/>
                <a:gd name="connsiteX4" fmla="*/ 0 w 11136"/>
                <a:gd name="connsiteY4" fmla="*/ 2202 h 59149"/>
                <a:gd name="connsiteX5" fmla="*/ 2129 w 11136"/>
                <a:gd name="connsiteY5" fmla="*/ 0 h 59149"/>
                <a:gd name="connsiteX6" fmla="*/ 9179 w 11136"/>
                <a:gd name="connsiteY6" fmla="*/ 0 h 59149"/>
                <a:gd name="connsiteX7" fmla="*/ 11136 w 11136"/>
                <a:gd name="connsiteY7" fmla="*/ 2202 h 59149"/>
                <a:gd name="connsiteX8" fmla="*/ 11136 w 11136"/>
                <a:gd name="connsiteY8" fmla="*/ 9476 h 59149"/>
                <a:gd name="connsiteX9" fmla="*/ 11136 w 11136"/>
                <a:gd name="connsiteY9" fmla="*/ 56948 h 59149"/>
                <a:gd name="connsiteX10" fmla="*/ 9179 w 11136"/>
                <a:gd name="connsiteY10" fmla="*/ 59150 h 59149"/>
                <a:gd name="connsiteX11" fmla="*/ 2129 w 11136"/>
                <a:gd name="connsiteY11" fmla="*/ 59150 h 59149"/>
                <a:gd name="connsiteX12" fmla="*/ 0 w 11136"/>
                <a:gd name="connsiteY12" fmla="*/ 56948 h 59149"/>
                <a:gd name="connsiteX13" fmla="*/ 0 w 11136"/>
                <a:gd name="connsiteY13" fmla="*/ 19124 h 59149"/>
                <a:gd name="connsiteX14" fmla="*/ 2129 w 11136"/>
                <a:gd name="connsiteY14" fmla="*/ 17005 h 59149"/>
                <a:gd name="connsiteX15" fmla="*/ 9179 w 11136"/>
                <a:gd name="connsiteY15" fmla="*/ 17005 h 59149"/>
                <a:gd name="connsiteX16" fmla="*/ 11136 w 11136"/>
                <a:gd name="connsiteY16" fmla="*/ 19124 h 59149"/>
                <a:gd name="connsiteX17" fmla="*/ 11136 w 11136"/>
                <a:gd name="connsiteY17" fmla="*/ 56948 h 5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136" h="59149">
                  <a:moveTo>
                    <a:pt x="11136" y="9476"/>
                  </a:moveTo>
                  <a:cubicBezTo>
                    <a:pt x="11136" y="10917"/>
                    <a:pt x="10626" y="11508"/>
                    <a:pt x="9179" y="11508"/>
                  </a:cubicBezTo>
                  <a:lnTo>
                    <a:pt x="2129" y="11508"/>
                  </a:lnTo>
                  <a:cubicBezTo>
                    <a:pt x="599" y="11508"/>
                    <a:pt x="0" y="10911"/>
                    <a:pt x="0" y="9476"/>
                  </a:cubicBezTo>
                  <a:lnTo>
                    <a:pt x="0" y="2202"/>
                  </a:lnTo>
                  <a:cubicBezTo>
                    <a:pt x="0" y="679"/>
                    <a:pt x="599" y="0"/>
                    <a:pt x="2129" y="0"/>
                  </a:cubicBezTo>
                  <a:lnTo>
                    <a:pt x="9179" y="0"/>
                  </a:lnTo>
                  <a:cubicBezTo>
                    <a:pt x="10626" y="0"/>
                    <a:pt x="11136" y="679"/>
                    <a:pt x="11136" y="2202"/>
                  </a:cubicBezTo>
                  <a:lnTo>
                    <a:pt x="11136" y="9476"/>
                  </a:lnTo>
                  <a:close/>
                  <a:moveTo>
                    <a:pt x="11136" y="56948"/>
                  </a:moveTo>
                  <a:cubicBezTo>
                    <a:pt x="11136" y="58471"/>
                    <a:pt x="10626" y="59150"/>
                    <a:pt x="9179" y="59150"/>
                  </a:cubicBezTo>
                  <a:lnTo>
                    <a:pt x="2129" y="59150"/>
                  </a:lnTo>
                  <a:cubicBezTo>
                    <a:pt x="599" y="59150"/>
                    <a:pt x="0" y="58477"/>
                    <a:pt x="0" y="56948"/>
                  </a:cubicBezTo>
                  <a:lnTo>
                    <a:pt x="0" y="19124"/>
                  </a:lnTo>
                  <a:cubicBezTo>
                    <a:pt x="0" y="17601"/>
                    <a:pt x="599" y="17005"/>
                    <a:pt x="2129" y="17005"/>
                  </a:cubicBezTo>
                  <a:lnTo>
                    <a:pt x="9179" y="17005"/>
                  </a:lnTo>
                  <a:cubicBezTo>
                    <a:pt x="10626" y="17005"/>
                    <a:pt x="11136" y="17595"/>
                    <a:pt x="11136" y="19124"/>
                  </a:cubicBezTo>
                  <a:lnTo>
                    <a:pt x="11136" y="5694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F243BB01-374C-FA6E-8A35-A5CCEDEB5A07}"/>
                </a:ext>
              </a:extLst>
            </p:cNvPr>
            <p:cNvSpPr/>
            <p:nvPr/>
          </p:nvSpPr>
          <p:spPr>
            <a:xfrm>
              <a:off x="11372319" y="6720724"/>
              <a:ext cx="34926" cy="43485"/>
            </a:xfrm>
            <a:custGeom>
              <a:avLst/>
              <a:gdLst>
                <a:gd name="connsiteX0" fmla="*/ 34926 w 34926"/>
                <a:gd name="connsiteY0" fmla="*/ 12429 h 43485"/>
                <a:gd name="connsiteX1" fmla="*/ 34926 w 34926"/>
                <a:gd name="connsiteY1" fmla="*/ 13869 h 43485"/>
                <a:gd name="connsiteX2" fmla="*/ 32887 w 34926"/>
                <a:gd name="connsiteY2" fmla="*/ 15900 h 43485"/>
                <a:gd name="connsiteX3" fmla="*/ 26340 w 34926"/>
                <a:gd name="connsiteY3" fmla="*/ 15900 h 43485"/>
                <a:gd name="connsiteX4" fmla="*/ 24211 w 34926"/>
                <a:gd name="connsiteY4" fmla="*/ 13869 h 43485"/>
                <a:gd name="connsiteX5" fmla="*/ 24211 w 34926"/>
                <a:gd name="connsiteY5" fmla="*/ 13279 h 43485"/>
                <a:gd name="connsiteX6" fmla="*/ 17671 w 34926"/>
                <a:gd name="connsiteY6" fmla="*/ 8797 h 43485"/>
                <a:gd name="connsiteX7" fmla="*/ 11124 w 34926"/>
                <a:gd name="connsiteY7" fmla="*/ 13279 h 43485"/>
                <a:gd name="connsiteX8" fmla="*/ 11124 w 34926"/>
                <a:gd name="connsiteY8" fmla="*/ 30118 h 43485"/>
                <a:gd name="connsiteX9" fmla="*/ 17671 w 34926"/>
                <a:gd name="connsiteY9" fmla="*/ 34688 h 43485"/>
                <a:gd name="connsiteX10" fmla="*/ 24211 w 34926"/>
                <a:gd name="connsiteY10" fmla="*/ 30118 h 43485"/>
                <a:gd name="connsiteX11" fmla="*/ 24211 w 34926"/>
                <a:gd name="connsiteY11" fmla="*/ 28849 h 43485"/>
                <a:gd name="connsiteX12" fmla="*/ 26340 w 34926"/>
                <a:gd name="connsiteY12" fmla="*/ 26735 h 43485"/>
                <a:gd name="connsiteX13" fmla="*/ 32887 w 34926"/>
                <a:gd name="connsiteY13" fmla="*/ 26735 h 43485"/>
                <a:gd name="connsiteX14" fmla="*/ 34926 w 34926"/>
                <a:gd name="connsiteY14" fmla="*/ 28849 h 43485"/>
                <a:gd name="connsiteX15" fmla="*/ 34926 w 34926"/>
                <a:gd name="connsiteY15" fmla="*/ 30962 h 43485"/>
                <a:gd name="connsiteX16" fmla="*/ 17416 w 34926"/>
                <a:gd name="connsiteY16" fmla="*/ 43486 h 43485"/>
                <a:gd name="connsiteX17" fmla="*/ 0 w 34926"/>
                <a:gd name="connsiteY17" fmla="*/ 30962 h 43485"/>
                <a:gd name="connsiteX18" fmla="*/ 0 w 34926"/>
                <a:gd name="connsiteY18" fmla="*/ 12435 h 43485"/>
                <a:gd name="connsiteX19" fmla="*/ 17505 w 34926"/>
                <a:gd name="connsiteY19" fmla="*/ 0 h 43485"/>
                <a:gd name="connsiteX20" fmla="*/ 34926 w 34926"/>
                <a:gd name="connsiteY20" fmla="*/ 12435 h 4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926" h="43485">
                  <a:moveTo>
                    <a:pt x="34926" y="12429"/>
                  </a:moveTo>
                  <a:lnTo>
                    <a:pt x="34926" y="13869"/>
                  </a:lnTo>
                  <a:cubicBezTo>
                    <a:pt x="34926" y="15393"/>
                    <a:pt x="34328" y="15900"/>
                    <a:pt x="32887" y="15900"/>
                  </a:cubicBezTo>
                  <a:lnTo>
                    <a:pt x="26340" y="15900"/>
                  </a:lnTo>
                  <a:cubicBezTo>
                    <a:pt x="24810" y="15900"/>
                    <a:pt x="24211" y="15393"/>
                    <a:pt x="24211" y="13869"/>
                  </a:cubicBezTo>
                  <a:lnTo>
                    <a:pt x="24211" y="13279"/>
                  </a:lnTo>
                  <a:cubicBezTo>
                    <a:pt x="24211" y="10150"/>
                    <a:pt x="22509" y="8797"/>
                    <a:pt x="17671" y="8797"/>
                  </a:cubicBezTo>
                  <a:cubicBezTo>
                    <a:pt x="12832" y="8797"/>
                    <a:pt x="11124" y="10150"/>
                    <a:pt x="11124" y="13279"/>
                  </a:cubicBezTo>
                  <a:lnTo>
                    <a:pt x="11124" y="30118"/>
                  </a:lnTo>
                  <a:cubicBezTo>
                    <a:pt x="11124" y="33247"/>
                    <a:pt x="12826" y="34688"/>
                    <a:pt x="17671" y="34688"/>
                  </a:cubicBezTo>
                  <a:cubicBezTo>
                    <a:pt x="22515" y="34688"/>
                    <a:pt x="24211" y="33247"/>
                    <a:pt x="24211" y="30118"/>
                  </a:cubicBezTo>
                  <a:lnTo>
                    <a:pt x="24211" y="28849"/>
                  </a:lnTo>
                  <a:cubicBezTo>
                    <a:pt x="24211" y="27325"/>
                    <a:pt x="24810" y="26735"/>
                    <a:pt x="26340" y="26735"/>
                  </a:cubicBezTo>
                  <a:lnTo>
                    <a:pt x="32887" y="26735"/>
                  </a:lnTo>
                  <a:cubicBezTo>
                    <a:pt x="34328" y="26735"/>
                    <a:pt x="34926" y="27325"/>
                    <a:pt x="34926" y="28849"/>
                  </a:cubicBezTo>
                  <a:lnTo>
                    <a:pt x="34926" y="30962"/>
                  </a:lnTo>
                  <a:cubicBezTo>
                    <a:pt x="34926" y="38579"/>
                    <a:pt x="29827" y="43486"/>
                    <a:pt x="17416" y="43486"/>
                  </a:cubicBezTo>
                  <a:cubicBezTo>
                    <a:pt x="5005" y="43486"/>
                    <a:pt x="0" y="38579"/>
                    <a:pt x="0" y="30962"/>
                  </a:cubicBezTo>
                  <a:lnTo>
                    <a:pt x="0" y="12435"/>
                  </a:lnTo>
                  <a:cubicBezTo>
                    <a:pt x="0" y="4907"/>
                    <a:pt x="5011" y="0"/>
                    <a:pt x="17505" y="0"/>
                  </a:cubicBezTo>
                  <a:cubicBezTo>
                    <a:pt x="29999" y="0"/>
                    <a:pt x="34926" y="4907"/>
                    <a:pt x="34926" y="12435"/>
                  </a:cubicBezTo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071802E6-7653-9F81-8B01-0B82994B35F0}"/>
                </a:ext>
              </a:extLst>
            </p:cNvPr>
            <p:cNvSpPr/>
            <p:nvPr/>
          </p:nvSpPr>
          <p:spPr>
            <a:xfrm>
              <a:off x="11414124" y="6720718"/>
              <a:ext cx="36711" cy="43485"/>
            </a:xfrm>
            <a:custGeom>
              <a:avLst/>
              <a:gdLst>
                <a:gd name="connsiteX0" fmla="*/ 0 w 36711"/>
                <a:gd name="connsiteY0" fmla="*/ 12435 h 43485"/>
                <a:gd name="connsiteX1" fmla="*/ 18353 w 36711"/>
                <a:gd name="connsiteY1" fmla="*/ 0 h 43485"/>
                <a:gd name="connsiteX2" fmla="*/ 36711 w 36711"/>
                <a:gd name="connsiteY2" fmla="*/ 12435 h 43485"/>
                <a:gd name="connsiteX3" fmla="*/ 36711 w 36711"/>
                <a:gd name="connsiteY3" fmla="*/ 30962 h 43485"/>
                <a:gd name="connsiteX4" fmla="*/ 18353 w 36711"/>
                <a:gd name="connsiteY4" fmla="*/ 43486 h 43485"/>
                <a:gd name="connsiteX5" fmla="*/ 0 w 36711"/>
                <a:gd name="connsiteY5" fmla="*/ 30962 h 43485"/>
                <a:gd name="connsiteX6" fmla="*/ 0 w 36711"/>
                <a:gd name="connsiteY6" fmla="*/ 12435 h 43485"/>
                <a:gd name="connsiteX7" fmla="*/ 25581 w 36711"/>
                <a:gd name="connsiteY7" fmla="*/ 13367 h 43485"/>
                <a:gd name="connsiteX8" fmla="*/ 18359 w 36711"/>
                <a:gd name="connsiteY8" fmla="*/ 8797 h 43485"/>
                <a:gd name="connsiteX9" fmla="*/ 11136 w 36711"/>
                <a:gd name="connsiteY9" fmla="*/ 13367 h 43485"/>
                <a:gd name="connsiteX10" fmla="*/ 11136 w 36711"/>
                <a:gd name="connsiteY10" fmla="*/ 30035 h 43485"/>
                <a:gd name="connsiteX11" fmla="*/ 18359 w 36711"/>
                <a:gd name="connsiteY11" fmla="*/ 34688 h 43485"/>
                <a:gd name="connsiteX12" fmla="*/ 25581 w 36711"/>
                <a:gd name="connsiteY12" fmla="*/ 30035 h 43485"/>
                <a:gd name="connsiteX13" fmla="*/ 25581 w 36711"/>
                <a:gd name="connsiteY13" fmla="*/ 13367 h 4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711" h="43485">
                  <a:moveTo>
                    <a:pt x="0" y="12435"/>
                  </a:moveTo>
                  <a:cubicBezTo>
                    <a:pt x="0" y="4907"/>
                    <a:pt x="5865" y="0"/>
                    <a:pt x="18353" y="0"/>
                  </a:cubicBezTo>
                  <a:cubicBezTo>
                    <a:pt x="30841" y="0"/>
                    <a:pt x="36711" y="4907"/>
                    <a:pt x="36711" y="12435"/>
                  </a:cubicBezTo>
                  <a:lnTo>
                    <a:pt x="36711" y="30962"/>
                  </a:lnTo>
                  <a:cubicBezTo>
                    <a:pt x="36711" y="38579"/>
                    <a:pt x="30847" y="43486"/>
                    <a:pt x="18353" y="43486"/>
                  </a:cubicBezTo>
                  <a:cubicBezTo>
                    <a:pt x="5859" y="43486"/>
                    <a:pt x="0" y="38579"/>
                    <a:pt x="0" y="30962"/>
                  </a:cubicBezTo>
                  <a:lnTo>
                    <a:pt x="0" y="12435"/>
                  </a:lnTo>
                  <a:close/>
                  <a:moveTo>
                    <a:pt x="25581" y="13367"/>
                  </a:moveTo>
                  <a:cubicBezTo>
                    <a:pt x="25581" y="10238"/>
                    <a:pt x="23114" y="8797"/>
                    <a:pt x="18359" y="8797"/>
                  </a:cubicBezTo>
                  <a:cubicBezTo>
                    <a:pt x="13603" y="8797"/>
                    <a:pt x="11136" y="10238"/>
                    <a:pt x="11136" y="13367"/>
                  </a:cubicBezTo>
                  <a:lnTo>
                    <a:pt x="11136" y="30035"/>
                  </a:lnTo>
                  <a:cubicBezTo>
                    <a:pt x="11136" y="33247"/>
                    <a:pt x="13603" y="34688"/>
                    <a:pt x="18359" y="34688"/>
                  </a:cubicBezTo>
                  <a:cubicBezTo>
                    <a:pt x="23114" y="34688"/>
                    <a:pt x="25581" y="33247"/>
                    <a:pt x="25581" y="30035"/>
                  </a:cubicBezTo>
                  <a:lnTo>
                    <a:pt x="25581" y="13367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7BDB3A67-886A-8A47-C427-DD52B49AEFD7}"/>
                </a:ext>
              </a:extLst>
            </p:cNvPr>
            <p:cNvSpPr/>
            <p:nvPr/>
          </p:nvSpPr>
          <p:spPr>
            <a:xfrm>
              <a:off x="11268560" y="6703625"/>
              <a:ext cx="34499" cy="60578"/>
            </a:xfrm>
            <a:custGeom>
              <a:avLst/>
              <a:gdLst>
                <a:gd name="connsiteX0" fmla="*/ 34499 w 34499"/>
                <a:gd name="connsiteY0" fmla="*/ 39341 h 60578"/>
                <a:gd name="connsiteX1" fmla="*/ 32632 w 34499"/>
                <a:gd name="connsiteY1" fmla="*/ 41289 h 60578"/>
                <a:gd name="connsiteX2" fmla="*/ 10875 w 34499"/>
                <a:gd name="connsiteY2" fmla="*/ 41289 h 60578"/>
                <a:gd name="connsiteX3" fmla="*/ 10875 w 34499"/>
                <a:gd name="connsiteY3" fmla="*/ 47548 h 60578"/>
                <a:gd name="connsiteX4" fmla="*/ 17505 w 34499"/>
                <a:gd name="connsiteY4" fmla="*/ 52200 h 60578"/>
                <a:gd name="connsiteX5" fmla="*/ 24134 w 34499"/>
                <a:gd name="connsiteY5" fmla="*/ 47548 h 60578"/>
                <a:gd name="connsiteX6" fmla="*/ 24134 w 34499"/>
                <a:gd name="connsiteY6" fmla="*/ 47129 h 60578"/>
                <a:gd name="connsiteX7" fmla="*/ 26263 w 34499"/>
                <a:gd name="connsiteY7" fmla="*/ 45015 h 60578"/>
                <a:gd name="connsiteX8" fmla="*/ 32211 w 34499"/>
                <a:gd name="connsiteY8" fmla="*/ 45015 h 60578"/>
                <a:gd name="connsiteX9" fmla="*/ 34333 w 34499"/>
                <a:gd name="connsiteY9" fmla="*/ 47129 h 60578"/>
                <a:gd name="connsiteX10" fmla="*/ 34333 w 34499"/>
                <a:gd name="connsiteY10" fmla="*/ 48061 h 60578"/>
                <a:gd name="connsiteX11" fmla="*/ 17422 w 34499"/>
                <a:gd name="connsiteY11" fmla="*/ 60579 h 60578"/>
                <a:gd name="connsiteX12" fmla="*/ 0 w 34499"/>
                <a:gd name="connsiteY12" fmla="*/ 48061 h 60578"/>
                <a:gd name="connsiteX13" fmla="*/ 0 w 34499"/>
                <a:gd name="connsiteY13" fmla="*/ 29534 h 60578"/>
                <a:gd name="connsiteX14" fmla="*/ 17505 w 34499"/>
                <a:gd name="connsiteY14" fmla="*/ 17099 h 60578"/>
                <a:gd name="connsiteX15" fmla="*/ 34499 w 34499"/>
                <a:gd name="connsiteY15" fmla="*/ 29534 h 60578"/>
                <a:gd name="connsiteX16" fmla="*/ 34499 w 34499"/>
                <a:gd name="connsiteY16" fmla="*/ 39347 h 60578"/>
                <a:gd name="connsiteX17" fmla="*/ 10881 w 34499"/>
                <a:gd name="connsiteY17" fmla="*/ 33844 h 60578"/>
                <a:gd name="connsiteX18" fmla="*/ 24134 w 34499"/>
                <a:gd name="connsiteY18" fmla="*/ 33844 h 60578"/>
                <a:gd name="connsiteX19" fmla="*/ 24134 w 34499"/>
                <a:gd name="connsiteY19" fmla="*/ 30118 h 60578"/>
                <a:gd name="connsiteX20" fmla="*/ 17505 w 34499"/>
                <a:gd name="connsiteY20" fmla="*/ 25465 h 60578"/>
                <a:gd name="connsiteX21" fmla="*/ 10875 w 34499"/>
                <a:gd name="connsiteY21" fmla="*/ 30118 h 60578"/>
                <a:gd name="connsiteX22" fmla="*/ 10875 w 34499"/>
                <a:gd name="connsiteY22" fmla="*/ 33844 h 60578"/>
                <a:gd name="connsiteX23" fmla="*/ 21667 w 34499"/>
                <a:gd name="connsiteY23" fmla="*/ 11082 h 60578"/>
                <a:gd name="connsiteX24" fmla="*/ 18946 w 34499"/>
                <a:gd name="connsiteY24" fmla="*/ 12523 h 60578"/>
                <a:gd name="connsiteX25" fmla="*/ 13425 w 34499"/>
                <a:gd name="connsiteY25" fmla="*/ 12523 h 60578"/>
                <a:gd name="connsiteX26" fmla="*/ 12322 w 34499"/>
                <a:gd name="connsiteY26" fmla="*/ 10409 h 60578"/>
                <a:gd name="connsiteX27" fmla="*/ 16402 w 34499"/>
                <a:gd name="connsiteY27" fmla="*/ 2114 h 60578"/>
                <a:gd name="connsiteX28" fmla="*/ 19373 w 34499"/>
                <a:gd name="connsiteY28" fmla="*/ 0 h 60578"/>
                <a:gd name="connsiteX29" fmla="*/ 26767 w 34499"/>
                <a:gd name="connsiteY29" fmla="*/ 0 h 60578"/>
                <a:gd name="connsiteX30" fmla="*/ 27787 w 34499"/>
                <a:gd name="connsiteY30" fmla="*/ 2114 h 60578"/>
                <a:gd name="connsiteX31" fmla="*/ 21667 w 34499"/>
                <a:gd name="connsiteY31" fmla="*/ 11082 h 6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4499" h="60578">
                  <a:moveTo>
                    <a:pt x="34499" y="39341"/>
                  </a:moveTo>
                  <a:cubicBezTo>
                    <a:pt x="34499" y="40693"/>
                    <a:pt x="33990" y="41289"/>
                    <a:pt x="32632" y="41289"/>
                  </a:cubicBezTo>
                  <a:lnTo>
                    <a:pt x="10875" y="41289"/>
                  </a:lnTo>
                  <a:lnTo>
                    <a:pt x="10875" y="47548"/>
                  </a:lnTo>
                  <a:cubicBezTo>
                    <a:pt x="10875" y="50506"/>
                    <a:pt x="12488" y="52200"/>
                    <a:pt x="17505" y="52200"/>
                  </a:cubicBezTo>
                  <a:cubicBezTo>
                    <a:pt x="22521" y="52200"/>
                    <a:pt x="24134" y="50506"/>
                    <a:pt x="24134" y="47548"/>
                  </a:cubicBezTo>
                  <a:lnTo>
                    <a:pt x="24134" y="47129"/>
                  </a:lnTo>
                  <a:cubicBezTo>
                    <a:pt x="24134" y="45688"/>
                    <a:pt x="24727" y="45015"/>
                    <a:pt x="26263" y="45015"/>
                  </a:cubicBezTo>
                  <a:lnTo>
                    <a:pt x="32211" y="45015"/>
                  </a:lnTo>
                  <a:cubicBezTo>
                    <a:pt x="33657" y="45015"/>
                    <a:pt x="34333" y="45694"/>
                    <a:pt x="34333" y="47129"/>
                  </a:cubicBezTo>
                  <a:lnTo>
                    <a:pt x="34333" y="48061"/>
                  </a:lnTo>
                  <a:cubicBezTo>
                    <a:pt x="34333" y="55678"/>
                    <a:pt x="29916" y="60579"/>
                    <a:pt x="17422" y="60579"/>
                  </a:cubicBezTo>
                  <a:cubicBezTo>
                    <a:pt x="4928" y="60579"/>
                    <a:pt x="0" y="55672"/>
                    <a:pt x="0" y="48061"/>
                  </a:cubicBezTo>
                  <a:lnTo>
                    <a:pt x="0" y="29534"/>
                  </a:lnTo>
                  <a:cubicBezTo>
                    <a:pt x="0" y="22006"/>
                    <a:pt x="5017" y="17099"/>
                    <a:pt x="17505" y="17099"/>
                  </a:cubicBezTo>
                  <a:cubicBezTo>
                    <a:pt x="29993" y="17099"/>
                    <a:pt x="34499" y="22006"/>
                    <a:pt x="34499" y="29534"/>
                  </a:cubicBezTo>
                  <a:lnTo>
                    <a:pt x="34499" y="39347"/>
                  </a:lnTo>
                  <a:close/>
                  <a:moveTo>
                    <a:pt x="10881" y="33844"/>
                  </a:moveTo>
                  <a:lnTo>
                    <a:pt x="24134" y="33844"/>
                  </a:lnTo>
                  <a:lnTo>
                    <a:pt x="24134" y="30118"/>
                  </a:lnTo>
                  <a:cubicBezTo>
                    <a:pt x="24134" y="27154"/>
                    <a:pt x="22266" y="25465"/>
                    <a:pt x="17505" y="25465"/>
                  </a:cubicBezTo>
                  <a:cubicBezTo>
                    <a:pt x="12743" y="25465"/>
                    <a:pt x="10875" y="27160"/>
                    <a:pt x="10875" y="30118"/>
                  </a:cubicBezTo>
                  <a:lnTo>
                    <a:pt x="10875" y="33844"/>
                  </a:lnTo>
                  <a:close/>
                  <a:moveTo>
                    <a:pt x="21667" y="11082"/>
                  </a:moveTo>
                  <a:cubicBezTo>
                    <a:pt x="21240" y="11679"/>
                    <a:pt x="20393" y="12523"/>
                    <a:pt x="18946" y="12523"/>
                  </a:cubicBezTo>
                  <a:lnTo>
                    <a:pt x="13425" y="12523"/>
                  </a:lnTo>
                  <a:cubicBezTo>
                    <a:pt x="12150" y="12523"/>
                    <a:pt x="11640" y="11933"/>
                    <a:pt x="12322" y="10409"/>
                  </a:cubicBezTo>
                  <a:lnTo>
                    <a:pt x="16402" y="2114"/>
                  </a:lnTo>
                  <a:cubicBezTo>
                    <a:pt x="17001" y="844"/>
                    <a:pt x="17843" y="0"/>
                    <a:pt x="19373" y="0"/>
                  </a:cubicBezTo>
                  <a:lnTo>
                    <a:pt x="26767" y="0"/>
                  </a:lnTo>
                  <a:cubicBezTo>
                    <a:pt x="28214" y="0"/>
                    <a:pt x="28635" y="933"/>
                    <a:pt x="27787" y="2114"/>
                  </a:cubicBezTo>
                  <a:lnTo>
                    <a:pt x="21667" y="11082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63190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6" r:id="rId2"/>
    <p:sldLayoutId id="2147484154" r:id="rId3"/>
    <p:sldLayoutId id="2147484221" r:id="rId4"/>
    <p:sldLayoutId id="2147484222" r:id="rId5"/>
    <p:sldLayoutId id="2147484223" r:id="rId6"/>
    <p:sldLayoutId id="2147484224" r:id="rId7"/>
    <p:sldLayoutId id="214748422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spc="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None/>
        <a:tabLst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500"/>
        </a:spcAft>
        <a:buClr>
          <a:schemeClr val="accent2"/>
        </a:buClr>
        <a:buFont typeface="Arial" panose="020B0604020202020204" pitchFamily="34" charset="0"/>
        <a:buNone/>
        <a:tabLst/>
        <a:defRPr sz="1200" b="1" kern="1200" cap="all" spc="100" baseline="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500"/>
        </a:spcAft>
        <a:buClr>
          <a:schemeClr val="accent2"/>
        </a:buClr>
        <a:buSzPct val="120000"/>
        <a:buFont typeface="Arial" panose="020B0604020202020204" pitchFamily="34" charset="0"/>
        <a:buNone/>
        <a:tabLst/>
        <a:defRPr sz="1600" b="1" kern="1200" cap="none" spc="0" baseline="0">
          <a:gradFill flip="none" rotWithShape="1">
            <a:gsLst>
              <a:gs pos="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None/>
        <a:tabLst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4pPr>
      <a:lvl5pPr marL="179388" indent="-17462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tabLst>
          <a:tab pos="212725" algn="l"/>
        </a:tabLst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361950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tabLst>
          <a:tab pos="212725" algn="l"/>
        </a:tabLst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361950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tabLst>
          <a:tab pos="212725" algn="l"/>
        </a:tabLst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361950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tabLst>
          <a:tab pos="212725" algn="l"/>
        </a:tabLst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361950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tabLst>
          <a:tab pos="212725" algn="l"/>
        </a:tabLst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10">
          <p15:clr>
            <a:srgbClr val="F26B43"/>
          </p15:clr>
        </p15:guide>
        <p15:guide id="2" pos="3840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orient="horz" pos="618">
          <p15:clr>
            <a:srgbClr val="F26B43"/>
          </p15:clr>
        </p15:guide>
        <p15:guide id="8" orient="horz" pos="958">
          <p15:clr>
            <a:srgbClr val="F26B43"/>
          </p15:clr>
        </p15:guide>
        <p15:guide id="9" orient="horz" pos="2455">
          <p15:clr>
            <a:srgbClr val="F26B43"/>
          </p15:clr>
        </p15:guide>
        <p15:guide id="10" orient="horz" pos="368">
          <p15:clr>
            <a:srgbClr val="F26B43"/>
          </p15:clr>
        </p15:guide>
        <p15:guide id="11" orient="horz" pos="1117">
          <p15:clr>
            <a:srgbClr val="F26B43"/>
          </p15:clr>
        </p15:guide>
        <p15:guide id="12" orient="horz" pos="379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D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9E852FE6-21B4-036C-4889-60965746B5ED}"/>
              </a:ext>
            </a:extLst>
          </p:cNvPr>
          <p:cNvGrpSpPr/>
          <p:nvPr userDrawn="1"/>
        </p:nvGrpSpPr>
        <p:grpSpPr>
          <a:xfrm>
            <a:off x="4690533" y="-1"/>
            <a:ext cx="7501468" cy="4219577"/>
            <a:chOff x="4690533" y="-1"/>
            <a:chExt cx="7501468" cy="4219577"/>
          </a:xfrm>
        </p:grpSpPr>
        <p:pic>
          <p:nvPicPr>
            <p:cNvPr id="21" name="Picture 20" descr="A close-up of a white surface&#10;&#10;Description automatically generated">
              <a:extLst>
                <a:ext uri="{FF2B5EF4-FFF2-40B4-BE49-F238E27FC236}">
                  <a16:creationId xmlns:a16="http://schemas.microsoft.com/office/drawing/2014/main" id="{572865D1-ADF3-3CE8-82C5-37A01F5D2A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alphaModFix amt="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20"/>
            <a:stretch/>
          </p:blipFill>
          <p:spPr>
            <a:xfrm>
              <a:off x="4690533" y="0"/>
              <a:ext cx="7501467" cy="4219575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63E30B8-7154-FBC1-D81F-5B671A939DFE}"/>
                </a:ext>
              </a:extLst>
            </p:cNvPr>
            <p:cNvSpPr/>
            <p:nvPr/>
          </p:nvSpPr>
          <p:spPr>
            <a:xfrm>
              <a:off x="4690533" y="-1"/>
              <a:ext cx="1794934" cy="4219575"/>
            </a:xfrm>
            <a:prstGeom prst="rect">
              <a:avLst/>
            </a:prstGeom>
            <a:gradFill>
              <a:gsLst>
                <a:gs pos="2000">
                  <a:srgbClr val="000D23"/>
                </a:gs>
                <a:gs pos="98000">
                  <a:schemeClr val="tx1"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F562D36-662C-B15B-4FF8-FBCC223D501A}"/>
                </a:ext>
              </a:extLst>
            </p:cNvPr>
            <p:cNvSpPr/>
            <p:nvPr/>
          </p:nvSpPr>
          <p:spPr>
            <a:xfrm rot="16200000">
              <a:off x="7491417" y="-481008"/>
              <a:ext cx="1899700" cy="7501468"/>
            </a:xfrm>
            <a:prstGeom prst="rect">
              <a:avLst/>
            </a:prstGeom>
            <a:gradFill>
              <a:gsLst>
                <a:gs pos="3000">
                  <a:srgbClr val="000D23"/>
                </a:gs>
                <a:gs pos="99000">
                  <a:schemeClr val="tx1"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015D0E-A28A-360C-0A14-799FD7CC2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600976"/>
            <a:ext cx="11522072" cy="380098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8C2C7C-3235-8367-876C-B1C200AA78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773237"/>
            <a:ext cx="11522073" cy="4483787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D5CD04-B1D7-5CD5-CA1C-F864C3BA4B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364673" y="0"/>
            <a:ext cx="36000" cy="3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8809D5-0874-374B-805D-380B216D7E06}" type="datetime1">
              <a:rPr lang="en-CA" smtClean="0"/>
              <a:t>2025-10-21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D01C11-4B0F-78AE-9326-B2ED5C837872}"/>
              </a:ext>
            </a:extLst>
          </p:cNvPr>
          <p:cNvSpPr/>
          <p:nvPr userDrawn="1"/>
        </p:nvSpPr>
        <p:spPr>
          <a:xfrm>
            <a:off x="339449" y="6541399"/>
            <a:ext cx="4356275" cy="27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© 2025 J.D. Power. All Rights Reserved. CONFIDENTIAL &amp; PROPRIETARY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4A35980-B573-75FD-CB2F-3390BAD78015}"/>
              </a:ext>
            </a:extLst>
          </p:cNvPr>
          <p:cNvGrpSpPr/>
          <p:nvPr userDrawn="1"/>
        </p:nvGrpSpPr>
        <p:grpSpPr>
          <a:xfrm>
            <a:off x="-210993" y="-269571"/>
            <a:ext cx="12607636" cy="7378396"/>
            <a:chOff x="-207818" y="-269571"/>
            <a:chExt cx="12607636" cy="7378396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5AD042E6-EB7D-C592-4DCA-72C539C463ED}"/>
                </a:ext>
              </a:extLst>
            </p:cNvPr>
            <p:cNvGrpSpPr/>
            <p:nvPr userDrawn="1"/>
          </p:nvGrpSpPr>
          <p:grpSpPr>
            <a:xfrm>
              <a:off x="12192000" y="333375"/>
              <a:ext cx="207818" cy="6193290"/>
              <a:chOff x="12192000" y="333375"/>
              <a:chExt cx="352926" cy="6193290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5A7EAE5F-35A5-3861-FA5F-C61B1D886C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3337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24DA393D-C845-4E5F-56D3-C0213C884CD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97103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15E6EC06-C0D5-AD16-5BC1-11AE0BDB25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5208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79036EF9-5818-9303-4AD6-A91EEA6A1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2738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ABF287C6-1F98-7EDF-F2C1-6D4CF93397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52666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30F09611-B463-A072-CA7B-062BC3EC466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5842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E92B754E-E58D-DECF-C255-0BD3A3A1DF0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89899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2C21A5B5-C7B4-8230-41B9-46EEC477C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019103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AD14A21-71DC-058B-5293-24287647F791}"/>
                </a:ext>
              </a:extLst>
            </p:cNvPr>
            <p:cNvGrpSpPr/>
            <p:nvPr userDrawn="1"/>
          </p:nvGrpSpPr>
          <p:grpSpPr>
            <a:xfrm>
              <a:off x="334963" y="6858000"/>
              <a:ext cx="11534775" cy="250825"/>
              <a:chOff x="334963" y="6858000"/>
              <a:chExt cx="11534775" cy="250825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F60C96F6-C8B7-2D69-BAF1-CEC14EFFB29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334963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2CFEF4CF-28C7-B306-87A8-DF1764A3F0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6097409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1C2CDCF4-3CF2-9C73-E145-6D77828795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11869738" y="6858000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5CD1E46D-1B9E-839D-9F39-A1B6FDE84A3A}"/>
                </a:ext>
              </a:extLst>
            </p:cNvPr>
            <p:cNvGrpSpPr/>
            <p:nvPr userDrawn="1"/>
          </p:nvGrpSpPr>
          <p:grpSpPr>
            <a:xfrm>
              <a:off x="-207818" y="332015"/>
              <a:ext cx="207818" cy="6194650"/>
              <a:chOff x="12192000" y="333375"/>
              <a:chExt cx="352926" cy="6194650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458F03A-BDF3-A886-9ECE-56ED78DCA80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3337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7C891DF-E994-208D-A8A3-02AC9924517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97103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848AED1-3E3B-81E5-E43D-E480D84FD6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5208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34651C0B-8B79-5757-DF80-0BC16971AF7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27516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E214D06-DF6C-161A-BC68-06F72238ED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528025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CCFF458-E28D-EEA4-7696-A184DC7957D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58420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F9BAF28-A86B-6E30-6929-6FD34C1D52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3898990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DCB03C77-A4A4-EC65-6BAE-C419DE0B137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1771678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63F4D4C6-CED4-0EC1-E6D5-D1F476F38E9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192000" y="6028088"/>
                <a:ext cx="352926" cy="0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3035E1F-0478-6A90-537A-DF09E989886F}"/>
                </a:ext>
              </a:extLst>
            </p:cNvPr>
            <p:cNvGrpSpPr/>
            <p:nvPr userDrawn="1"/>
          </p:nvGrpSpPr>
          <p:grpSpPr>
            <a:xfrm>
              <a:off x="334963" y="-269571"/>
              <a:ext cx="11534775" cy="250825"/>
              <a:chOff x="334963" y="-269571"/>
              <a:chExt cx="11534775" cy="250825"/>
            </a:xfrm>
          </p:grpSpPr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A0120CD8-2F2F-645F-B9DC-EDBE0661609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334963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9618F8C7-973E-3CF7-F05D-FE3C60BDBF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6097409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BFE2F766-6CCA-80D2-BEDA-33597D9810F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11869738" y="-269571"/>
                <a:ext cx="0" cy="250825"/>
              </a:xfrm>
              <a:prstGeom prst="line">
                <a:avLst/>
              </a:prstGeom>
              <a:ln w="6350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0C06DF3-029E-134B-8C03-F00B034758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8632" y="6541399"/>
            <a:ext cx="348404" cy="316601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BAFA70EE-EF21-5645-B7EF-DF5EA44B88C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68AF7381-2DFA-5F82-A2E5-6F850E562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6273800"/>
            <a:ext cx="11522073" cy="2508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651CED0-69B9-DFC4-7FF1-426F088FEA71}"/>
              </a:ext>
            </a:extLst>
          </p:cNvPr>
          <p:cNvGrpSpPr/>
          <p:nvPr userDrawn="1"/>
        </p:nvGrpSpPr>
        <p:grpSpPr>
          <a:xfrm>
            <a:off x="10196953" y="6633275"/>
            <a:ext cx="1253882" cy="133137"/>
            <a:chOff x="10196953" y="6633275"/>
            <a:chExt cx="1253882" cy="133137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C1D5F75-191B-8E7D-A83A-3E2267FC512E}"/>
                </a:ext>
              </a:extLst>
            </p:cNvPr>
            <p:cNvSpPr/>
            <p:nvPr/>
          </p:nvSpPr>
          <p:spPr>
            <a:xfrm>
              <a:off x="10196953" y="6634810"/>
              <a:ext cx="83366" cy="131596"/>
            </a:xfrm>
            <a:custGeom>
              <a:avLst/>
              <a:gdLst>
                <a:gd name="connsiteX0" fmla="*/ 25540 w 83366"/>
                <a:gd name="connsiteY0" fmla="*/ 95828 h 131596"/>
                <a:gd name="connsiteX1" fmla="*/ 42060 w 83366"/>
                <a:gd name="connsiteY1" fmla="*/ 110175 h 131596"/>
                <a:gd name="connsiteX2" fmla="*/ 57436 w 83366"/>
                <a:gd name="connsiteY2" fmla="*/ 95828 h 131596"/>
                <a:gd name="connsiteX3" fmla="*/ 57436 w 83366"/>
                <a:gd name="connsiteY3" fmla="*/ 4971 h 131596"/>
                <a:gd name="connsiteX4" fmla="*/ 62043 w 83366"/>
                <a:gd name="connsiteY4" fmla="*/ 0 h 131596"/>
                <a:gd name="connsiteX5" fmla="*/ 78754 w 83366"/>
                <a:gd name="connsiteY5" fmla="*/ 0 h 131596"/>
                <a:gd name="connsiteX6" fmla="*/ 83367 w 83366"/>
                <a:gd name="connsiteY6" fmla="*/ 4971 h 131596"/>
                <a:gd name="connsiteX7" fmla="*/ 83367 w 83366"/>
                <a:gd name="connsiteY7" fmla="*/ 100415 h 131596"/>
                <a:gd name="connsiteX8" fmla="*/ 42054 w 83366"/>
                <a:gd name="connsiteY8" fmla="*/ 131596 h 131596"/>
                <a:gd name="connsiteX9" fmla="*/ 0 w 83366"/>
                <a:gd name="connsiteY9" fmla="*/ 100415 h 131596"/>
                <a:gd name="connsiteX10" fmla="*/ 0 w 83366"/>
                <a:gd name="connsiteY10" fmla="*/ 88937 h 131596"/>
                <a:gd name="connsiteX11" fmla="*/ 4791 w 83366"/>
                <a:gd name="connsiteY11" fmla="*/ 84155 h 131596"/>
                <a:gd name="connsiteX12" fmla="*/ 20938 w 83366"/>
                <a:gd name="connsiteY12" fmla="*/ 84155 h 131596"/>
                <a:gd name="connsiteX13" fmla="*/ 25540 w 83366"/>
                <a:gd name="connsiteY13" fmla="*/ 88937 h 131596"/>
                <a:gd name="connsiteX14" fmla="*/ 25540 w 83366"/>
                <a:gd name="connsiteY14" fmla="*/ 95828 h 13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3366" h="131596">
                  <a:moveTo>
                    <a:pt x="25540" y="95828"/>
                  </a:moveTo>
                  <a:cubicBezTo>
                    <a:pt x="25540" y="105387"/>
                    <a:pt x="30740" y="110175"/>
                    <a:pt x="42060" y="110175"/>
                  </a:cubicBezTo>
                  <a:cubicBezTo>
                    <a:pt x="53380" y="110175"/>
                    <a:pt x="57436" y="105387"/>
                    <a:pt x="57436" y="95828"/>
                  </a:cubicBezTo>
                  <a:lnTo>
                    <a:pt x="57436" y="4971"/>
                  </a:lnTo>
                  <a:cubicBezTo>
                    <a:pt x="57436" y="1523"/>
                    <a:pt x="58776" y="0"/>
                    <a:pt x="62043" y="0"/>
                  </a:cubicBezTo>
                  <a:lnTo>
                    <a:pt x="78754" y="0"/>
                  </a:lnTo>
                  <a:cubicBezTo>
                    <a:pt x="82211" y="0"/>
                    <a:pt x="83367" y="1523"/>
                    <a:pt x="83367" y="4971"/>
                  </a:cubicBezTo>
                  <a:lnTo>
                    <a:pt x="83367" y="100415"/>
                  </a:lnTo>
                  <a:cubicBezTo>
                    <a:pt x="83367" y="116487"/>
                    <a:pt x="74532" y="131596"/>
                    <a:pt x="42054" y="131596"/>
                  </a:cubicBezTo>
                  <a:cubicBezTo>
                    <a:pt x="9577" y="131596"/>
                    <a:pt x="0" y="116493"/>
                    <a:pt x="0" y="100415"/>
                  </a:cubicBezTo>
                  <a:lnTo>
                    <a:pt x="0" y="88937"/>
                  </a:lnTo>
                  <a:cubicBezTo>
                    <a:pt x="0" y="85489"/>
                    <a:pt x="1334" y="84155"/>
                    <a:pt x="4791" y="84155"/>
                  </a:cubicBezTo>
                  <a:lnTo>
                    <a:pt x="20938" y="84155"/>
                  </a:lnTo>
                  <a:cubicBezTo>
                    <a:pt x="24395" y="84155"/>
                    <a:pt x="25540" y="85489"/>
                    <a:pt x="25540" y="88937"/>
                  </a:cubicBezTo>
                  <a:lnTo>
                    <a:pt x="25540" y="95828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97CB9B3-39B4-C4DD-EB4A-F75C067100AD}"/>
                </a:ext>
              </a:extLst>
            </p:cNvPr>
            <p:cNvSpPr/>
            <p:nvPr/>
          </p:nvSpPr>
          <p:spPr>
            <a:xfrm>
              <a:off x="10290513" y="6739825"/>
              <a:ext cx="25741" cy="25058"/>
            </a:xfrm>
            <a:custGeom>
              <a:avLst/>
              <a:gdLst>
                <a:gd name="connsiteX0" fmla="*/ 25741 w 25741"/>
                <a:gd name="connsiteY0" fmla="*/ 20270 h 25058"/>
                <a:gd name="connsiteX1" fmla="*/ 21140 w 25741"/>
                <a:gd name="connsiteY1" fmla="*/ 25058 h 25058"/>
                <a:gd name="connsiteX2" fmla="*/ 4809 w 25741"/>
                <a:gd name="connsiteY2" fmla="*/ 25058 h 25058"/>
                <a:gd name="connsiteX3" fmla="*/ 0 w 25741"/>
                <a:gd name="connsiteY3" fmla="*/ 20270 h 25058"/>
                <a:gd name="connsiteX4" fmla="*/ 0 w 25741"/>
                <a:gd name="connsiteY4" fmla="*/ 4783 h 25058"/>
                <a:gd name="connsiteX5" fmla="*/ 4809 w 25741"/>
                <a:gd name="connsiteY5" fmla="*/ 0 h 25058"/>
                <a:gd name="connsiteX6" fmla="*/ 21140 w 25741"/>
                <a:gd name="connsiteY6" fmla="*/ 0 h 25058"/>
                <a:gd name="connsiteX7" fmla="*/ 25741 w 25741"/>
                <a:gd name="connsiteY7" fmla="*/ 4783 h 25058"/>
                <a:gd name="connsiteX8" fmla="*/ 25741 w 25741"/>
                <a:gd name="connsiteY8" fmla="*/ 20270 h 2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41" h="25058">
                  <a:moveTo>
                    <a:pt x="25741" y="20270"/>
                  </a:moveTo>
                  <a:cubicBezTo>
                    <a:pt x="25741" y="23712"/>
                    <a:pt x="24597" y="25058"/>
                    <a:pt x="21140" y="25058"/>
                  </a:cubicBezTo>
                  <a:lnTo>
                    <a:pt x="4809" y="25058"/>
                  </a:lnTo>
                  <a:cubicBezTo>
                    <a:pt x="1352" y="25058"/>
                    <a:pt x="0" y="23712"/>
                    <a:pt x="0" y="20270"/>
                  </a:cubicBezTo>
                  <a:lnTo>
                    <a:pt x="0" y="4783"/>
                  </a:lnTo>
                  <a:cubicBezTo>
                    <a:pt x="0" y="1346"/>
                    <a:pt x="1352" y="0"/>
                    <a:pt x="4809" y="0"/>
                  </a:cubicBezTo>
                  <a:lnTo>
                    <a:pt x="21140" y="0"/>
                  </a:lnTo>
                  <a:cubicBezTo>
                    <a:pt x="24597" y="0"/>
                    <a:pt x="25741" y="1346"/>
                    <a:pt x="25741" y="4783"/>
                  </a:cubicBezTo>
                  <a:lnTo>
                    <a:pt x="25741" y="20270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3AAAF78A-EE37-4148-6060-85EFB435D22C}"/>
                </a:ext>
              </a:extLst>
            </p:cNvPr>
            <p:cNvSpPr/>
            <p:nvPr/>
          </p:nvSpPr>
          <p:spPr>
            <a:xfrm>
              <a:off x="10343721" y="6634810"/>
              <a:ext cx="93364" cy="130067"/>
            </a:xfrm>
            <a:custGeom>
              <a:avLst/>
              <a:gdLst>
                <a:gd name="connsiteX0" fmla="*/ 4044 w 93364"/>
                <a:gd name="connsiteY0" fmla="*/ 130067 h 130067"/>
                <a:gd name="connsiteX1" fmla="*/ 0 w 93364"/>
                <a:gd name="connsiteY1" fmla="*/ 125101 h 130067"/>
                <a:gd name="connsiteX2" fmla="*/ 0 w 93364"/>
                <a:gd name="connsiteY2" fmla="*/ 4971 h 130067"/>
                <a:gd name="connsiteX3" fmla="*/ 4619 w 93364"/>
                <a:gd name="connsiteY3" fmla="*/ 0 h 130067"/>
                <a:gd name="connsiteX4" fmla="*/ 46495 w 93364"/>
                <a:gd name="connsiteY4" fmla="*/ 0 h 130067"/>
                <a:gd name="connsiteX5" fmla="*/ 93365 w 93364"/>
                <a:gd name="connsiteY5" fmla="*/ 31175 h 130067"/>
                <a:gd name="connsiteX6" fmla="*/ 93365 w 93364"/>
                <a:gd name="connsiteY6" fmla="*/ 98892 h 130067"/>
                <a:gd name="connsiteX7" fmla="*/ 46495 w 93364"/>
                <a:gd name="connsiteY7" fmla="*/ 130067 h 130067"/>
                <a:gd name="connsiteX8" fmla="*/ 4044 w 93364"/>
                <a:gd name="connsiteY8" fmla="*/ 130067 h 130067"/>
                <a:gd name="connsiteX9" fmla="*/ 25943 w 93364"/>
                <a:gd name="connsiteY9" fmla="*/ 21415 h 130067"/>
                <a:gd name="connsiteX10" fmla="*/ 25943 w 93364"/>
                <a:gd name="connsiteY10" fmla="*/ 108646 h 130067"/>
                <a:gd name="connsiteX11" fmla="*/ 46495 w 93364"/>
                <a:gd name="connsiteY11" fmla="*/ 108646 h 130067"/>
                <a:gd name="connsiteX12" fmla="*/ 67439 w 93364"/>
                <a:gd name="connsiteY12" fmla="*/ 94293 h 130067"/>
                <a:gd name="connsiteX13" fmla="*/ 67439 w 93364"/>
                <a:gd name="connsiteY13" fmla="*/ 35769 h 130067"/>
                <a:gd name="connsiteX14" fmla="*/ 46495 w 93364"/>
                <a:gd name="connsiteY14" fmla="*/ 21415 h 130067"/>
                <a:gd name="connsiteX15" fmla="*/ 25943 w 93364"/>
                <a:gd name="connsiteY15" fmla="*/ 21415 h 13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3364" h="130067">
                  <a:moveTo>
                    <a:pt x="4044" y="130067"/>
                  </a:moveTo>
                  <a:cubicBezTo>
                    <a:pt x="967" y="130067"/>
                    <a:pt x="0" y="128355"/>
                    <a:pt x="0" y="125101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19" y="0"/>
                  </a:cubicBezTo>
                  <a:lnTo>
                    <a:pt x="46495" y="0"/>
                  </a:lnTo>
                  <a:cubicBezTo>
                    <a:pt x="81268" y="0"/>
                    <a:pt x="93365" y="15109"/>
                    <a:pt x="93365" y="31175"/>
                  </a:cubicBezTo>
                  <a:lnTo>
                    <a:pt x="93365" y="98892"/>
                  </a:lnTo>
                  <a:cubicBezTo>
                    <a:pt x="93365" y="114958"/>
                    <a:pt x="81262" y="130067"/>
                    <a:pt x="46495" y="130067"/>
                  </a:cubicBezTo>
                  <a:lnTo>
                    <a:pt x="4044" y="130067"/>
                  </a:lnTo>
                  <a:close/>
                  <a:moveTo>
                    <a:pt x="25943" y="21415"/>
                  </a:moveTo>
                  <a:lnTo>
                    <a:pt x="25943" y="108646"/>
                  </a:lnTo>
                  <a:lnTo>
                    <a:pt x="46495" y="108646"/>
                  </a:lnTo>
                  <a:cubicBezTo>
                    <a:pt x="59565" y="108646"/>
                    <a:pt x="67439" y="103858"/>
                    <a:pt x="67439" y="94293"/>
                  </a:cubicBezTo>
                  <a:lnTo>
                    <a:pt x="67439" y="35769"/>
                  </a:lnTo>
                  <a:cubicBezTo>
                    <a:pt x="67439" y="26204"/>
                    <a:pt x="59565" y="21415"/>
                    <a:pt x="46495" y="21415"/>
                  </a:cubicBezTo>
                  <a:lnTo>
                    <a:pt x="25943" y="21415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0CFB77A5-3EC1-05BE-ED77-EDB0760208FE}"/>
                </a:ext>
              </a:extLst>
            </p:cNvPr>
            <p:cNvSpPr/>
            <p:nvPr/>
          </p:nvSpPr>
          <p:spPr>
            <a:xfrm>
              <a:off x="10446122" y="6739825"/>
              <a:ext cx="25747" cy="25058"/>
            </a:xfrm>
            <a:custGeom>
              <a:avLst/>
              <a:gdLst>
                <a:gd name="connsiteX0" fmla="*/ 25747 w 25747"/>
                <a:gd name="connsiteY0" fmla="*/ 20270 h 25058"/>
                <a:gd name="connsiteX1" fmla="*/ 21134 w 25747"/>
                <a:gd name="connsiteY1" fmla="*/ 25058 h 25058"/>
                <a:gd name="connsiteX2" fmla="*/ 4803 w 25747"/>
                <a:gd name="connsiteY2" fmla="*/ 25058 h 25058"/>
                <a:gd name="connsiteX3" fmla="*/ 0 w 25747"/>
                <a:gd name="connsiteY3" fmla="*/ 20270 h 25058"/>
                <a:gd name="connsiteX4" fmla="*/ 0 w 25747"/>
                <a:gd name="connsiteY4" fmla="*/ 4783 h 25058"/>
                <a:gd name="connsiteX5" fmla="*/ 4803 w 25747"/>
                <a:gd name="connsiteY5" fmla="*/ 0 h 25058"/>
                <a:gd name="connsiteX6" fmla="*/ 21134 w 25747"/>
                <a:gd name="connsiteY6" fmla="*/ 0 h 25058"/>
                <a:gd name="connsiteX7" fmla="*/ 25747 w 25747"/>
                <a:gd name="connsiteY7" fmla="*/ 4783 h 25058"/>
                <a:gd name="connsiteX8" fmla="*/ 25747 w 25747"/>
                <a:gd name="connsiteY8" fmla="*/ 20270 h 2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47" h="25058">
                  <a:moveTo>
                    <a:pt x="25747" y="20270"/>
                  </a:moveTo>
                  <a:cubicBezTo>
                    <a:pt x="25747" y="23712"/>
                    <a:pt x="24597" y="25058"/>
                    <a:pt x="21134" y="25058"/>
                  </a:cubicBezTo>
                  <a:lnTo>
                    <a:pt x="4803" y="25058"/>
                  </a:lnTo>
                  <a:cubicBezTo>
                    <a:pt x="1340" y="25058"/>
                    <a:pt x="0" y="23712"/>
                    <a:pt x="0" y="20270"/>
                  </a:cubicBezTo>
                  <a:lnTo>
                    <a:pt x="0" y="4783"/>
                  </a:lnTo>
                  <a:cubicBezTo>
                    <a:pt x="0" y="1346"/>
                    <a:pt x="1340" y="0"/>
                    <a:pt x="4803" y="0"/>
                  </a:cubicBezTo>
                  <a:lnTo>
                    <a:pt x="21134" y="0"/>
                  </a:lnTo>
                  <a:cubicBezTo>
                    <a:pt x="24597" y="0"/>
                    <a:pt x="25747" y="1346"/>
                    <a:pt x="25747" y="4783"/>
                  </a:cubicBezTo>
                  <a:lnTo>
                    <a:pt x="25747" y="20270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C5E73633-D71F-A17C-563B-2BF6F3CF87CF}"/>
                </a:ext>
              </a:extLst>
            </p:cNvPr>
            <p:cNvSpPr/>
            <p:nvPr/>
          </p:nvSpPr>
          <p:spPr>
            <a:xfrm>
              <a:off x="10526696" y="6634810"/>
              <a:ext cx="91431" cy="130061"/>
            </a:xfrm>
            <a:custGeom>
              <a:avLst/>
              <a:gdLst>
                <a:gd name="connsiteX0" fmla="*/ 25931 w 91431"/>
                <a:gd name="connsiteY0" fmla="*/ 83966 h 130061"/>
                <a:gd name="connsiteX1" fmla="*/ 25931 w 91431"/>
                <a:gd name="connsiteY1" fmla="*/ 125096 h 130061"/>
                <a:gd name="connsiteX2" fmla="*/ 21323 w 91431"/>
                <a:gd name="connsiteY2" fmla="*/ 130061 h 130061"/>
                <a:gd name="connsiteX3" fmla="*/ 4607 w 91431"/>
                <a:gd name="connsiteY3" fmla="*/ 130061 h 130061"/>
                <a:gd name="connsiteX4" fmla="*/ 0 w 91431"/>
                <a:gd name="connsiteY4" fmla="*/ 125096 h 130061"/>
                <a:gd name="connsiteX5" fmla="*/ 0 w 91431"/>
                <a:gd name="connsiteY5" fmla="*/ 4971 h 130061"/>
                <a:gd name="connsiteX6" fmla="*/ 4607 w 91431"/>
                <a:gd name="connsiteY6" fmla="*/ 0 h 130061"/>
                <a:gd name="connsiteX7" fmla="*/ 44948 w 91431"/>
                <a:gd name="connsiteY7" fmla="*/ 0 h 130061"/>
                <a:gd name="connsiteX8" fmla="*/ 91431 w 91431"/>
                <a:gd name="connsiteY8" fmla="*/ 31175 h 130061"/>
                <a:gd name="connsiteX9" fmla="*/ 91431 w 91431"/>
                <a:gd name="connsiteY9" fmla="*/ 52803 h 130061"/>
                <a:gd name="connsiteX10" fmla="*/ 44948 w 91431"/>
                <a:gd name="connsiteY10" fmla="*/ 83972 h 130061"/>
                <a:gd name="connsiteX11" fmla="*/ 25931 w 91431"/>
                <a:gd name="connsiteY11" fmla="*/ 83972 h 130061"/>
                <a:gd name="connsiteX12" fmla="*/ 25931 w 91431"/>
                <a:gd name="connsiteY12" fmla="*/ 21415 h 130061"/>
                <a:gd name="connsiteX13" fmla="*/ 25931 w 91431"/>
                <a:gd name="connsiteY13" fmla="*/ 62545 h 130061"/>
                <a:gd name="connsiteX14" fmla="*/ 44948 w 91431"/>
                <a:gd name="connsiteY14" fmla="*/ 62545 h 130061"/>
                <a:gd name="connsiteX15" fmla="*/ 65696 w 91431"/>
                <a:gd name="connsiteY15" fmla="*/ 48386 h 130061"/>
                <a:gd name="connsiteX16" fmla="*/ 65696 w 91431"/>
                <a:gd name="connsiteY16" fmla="*/ 35763 h 130061"/>
                <a:gd name="connsiteX17" fmla="*/ 44948 w 91431"/>
                <a:gd name="connsiteY17" fmla="*/ 21409 h 130061"/>
                <a:gd name="connsiteX18" fmla="*/ 25931 w 91431"/>
                <a:gd name="connsiteY18" fmla="*/ 21409 h 13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431" h="130061">
                  <a:moveTo>
                    <a:pt x="25931" y="83966"/>
                  </a:moveTo>
                  <a:lnTo>
                    <a:pt x="25931" y="125096"/>
                  </a:lnTo>
                  <a:cubicBezTo>
                    <a:pt x="25931" y="128538"/>
                    <a:pt x="24775" y="130061"/>
                    <a:pt x="21323" y="130061"/>
                  </a:cubicBezTo>
                  <a:lnTo>
                    <a:pt x="4607" y="130061"/>
                  </a:lnTo>
                  <a:cubicBezTo>
                    <a:pt x="1150" y="130061"/>
                    <a:pt x="0" y="128538"/>
                    <a:pt x="0" y="125096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07" y="0"/>
                  </a:cubicBezTo>
                  <a:lnTo>
                    <a:pt x="44948" y="0"/>
                  </a:lnTo>
                  <a:cubicBezTo>
                    <a:pt x="79708" y="0"/>
                    <a:pt x="91431" y="15109"/>
                    <a:pt x="91431" y="31175"/>
                  </a:cubicBezTo>
                  <a:lnTo>
                    <a:pt x="91431" y="52803"/>
                  </a:lnTo>
                  <a:cubicBezTo>
                    <a:pt x="91431" y="68863"/>
                    <a:pt x="79714" y="83972"/>
                    <a:pt x="44948" y="83972"/>
                  </a:cubicBezTo>
                  <a:lnTo>
                    <a:pt x="25931" y="83972"/>
                  </a:lnTo>
                  <a:close/>
                  <a:moveTo>
                    <a:pt x="25931" y="21415"/>
                  </a:moveTo>
                  <a:lnTo>
                    <a:pt x="25931" y="62545"/>
                  </a:lnTo>
                  <a:lnTo>
                    <a:pt x="44948" y="62545"/>
                  </a:lnTo>
                  <a:cubicBezTo>
                    <a:pt x="57815" y="62545"/>
                    <a:pt x="65696" y="57756"/>
                    <a:pt x="65696" y="48386"/>
                  </a:cubicBezTo>
                  <a:lnTo>
                    <a:pt x="65696" y="35763"/>
                  </a:lnTo>
                  <a:cubicBezTo>
                    <a:pt x="65696" y="26198"/>
                    <a:pt x="57815" y="21409"/>
                    <a:pt x="44948" y="21409"/>
                  </a:cubicBezTo>
                  <a:lnTo>
                    <a:pt x="25931" y="2140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5973EAC5-F6CD-241D-A5BE-B3BAF9B5C888}"/>
                </a:ext>
              </a:extLst>
            </p:cNvPr>
            <p:cNvSpPr/>
            <p:nvPr/>
          </p:nvSpPr>
          <p:spPr>
            <a:xfrm>
              <a:off x="10637921" y="6633275"/>
              <a:ext cx="93382" cy="133137"/>
            </a:xfrm>
            <a:custGeom>
              <a:avLst/>
              <a:gdLst>
                <a:gd name="connsiteX0" fmla="*/ 0 w 93382"/>
                <a:gd name="connsiteY0" fmla="*/ 31175 h 133137"/>
                <a:gd name="connsiteX1" fmla="*/ 46685 w 93382"/>
                <a:gd name="connsiteY1" fmla="*/ 0 h 133137"/>
                <a:gd name="connsiteX2" fmla="*/ 93382 w 93382"/>
                <a:gd name="connsiteY2" fmla="*/ 31175 h 133137"/>
                <a:gd name="connsiteX3" fmla="*/ 93382 w 93382"/>
                <a:gd name="connsiteY3" fmla="*/ 101956 h 133137"/>
                <a:gd name="connsiteX4" fmla="*/ 46685 w 93382"/>
                <a:gd name="connsiteY4" fmla="*/ 133137 h 133137"/>
                <a:gd name="connsiteX5" fmla="*/ 0 w 93382"/>
                <a:gd name="connsiteY5" fmla="*/ 101956 h 133137"/>
                <a:gd name="connsiteX6" fmla="*/ 0 w 93382"/>
                <a:gd name="connsiteY6" fmla="*/ 31175 h 133137"/>
                <a:gd name="connsiteX7" fmla="*/ 67434 w 93382"/>
                <a:gd name="connsiteY7" fmla="*/ 35769 h 133137"/>
                <a:gd name="connsiteX8" fmla="*/ 46685 w 93382"/>
                <a:gd name="connsiteY8" fmla="*/ 21427 h 133137"/>
                <a:gd name="connsiteX9" fmla="*/ 26133 w 93382"/>
                <a:gd name="connsiteY9" fmla="*/ 35769 h 133137"/>
                <a:gd name="connsiteX10" fmla="*/ 26133 w 93382"/>
                <a:gd name="connsiteY10" fmla="*/ 97369 h 133137"/>
                <a:gd name="connsiteX11" fmla="*/ 46685 w 93382"/>
                <a:gd name="connsiteY11" fmla="*/ 111716 h 133137"/>
                <a:gd name="connsiteX12" fmla="*/ 67434 w 93382"/>
                <a:gd name="connsiteY12" fmla="*/ 97369 h 133137"/>
                <a:gd name="connsiteX13" fmla="*/ 67434 w 93382"/>
                <a:gd name="connsiteY13" fmla="*/ 35769 h 133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382" h="133137">
                  <a:moveTo>
                    <a:pt x="0" y="31175"/>
                  </a:moveTo>
                  <a:cubicBezTo>
                    <a:pt x="0" y="15115"/>
                    <a:pt x="11919" y="0"/>
                    <a:pt x="46685" y="0"/>
                  </a:cubicBezTo>
                  <a:cubicBezTo>
                    <a:pt x="81452" y="0"/>
                    <a:pt x="93382" y="15115"/>
                    <a:pt x="93382" y="31175"/>
                  </a:cubicBezTo>
                  <a:lnTo>
                    <a:pt x="93382" y="101956"/>
                  </a:lnTo>
                  <a:cubicBezTo>
                    <a:pt x="93382" y="118028"/>
                    <a:pt x="81463" y="133137"/>
                    <a:pt x="46685" y="133137"/>
                  </a:cubicBezTo>
                  <a:cubicBezTo>
                    <a:pt x="11907" y="133137"/>
                    <a:pt x="0" y="118034"/>
                    <a:pt x="0" y="101956"/>
                  </a:cubicBezTo>
                  <a:lnTo>
                    <a:pt x="0" y="31175"/>
                  </a:lnTo>
                  <a:close/>
                  <a:moveTo>
                    <a:pt x="67434" y="35769"/>
                  </a:moveTo>
                  <a:cubicBezTo>
                    <a:pt x="67434" y="26209"/>
                    <a:pt x="59559" y="21427"/>
                    <a:pt x="46685" y="21427"/>
                  </a:cubicBezTo>
                  <a:cubicBezTo>
                    <a:pt x="33812" y="21427"/>
                    <a:pt x="26133" y="26215"/>
                    <a:pt x="26133" y="35769"/>
                  </a:cubicBezTo>
                  <a:lnTo>
                    <a:pt x="26133" y="97369"/>
                  </a:lnTo>
                  <a:cubicBezTo>
                    <a:pt x="26133" y="106928"/>
                    <a:pt x="33818" y="111716"/>
                    <a:pt x="46685" y="111716"/>
                  </a:cubicBezTo>
                  <a:cubicBezTo>
                    <a:pt x="59553" y="111716"/>
                    <a:pt x="67434" y="106922"/>
                    <a:pt x="67434" y="97369"/>
                  </a:cubicBezTo>
                  <a:lnTo>
                    <a:pt x="67434" y="3576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D4B1DF1F-88FB-C924-B8B6-F7406B624CE3}"/>
                </a:ext>
              </a:extLst>
            </p:cNvPr>
            <p:cNvSpPr/>
            <p:nvPr/>
          </p:nvSpPr>
          <p:spPr>
            <a:xfrm>
              <a:off x="10747193" y="6634804"/>
              <a:ext cx="156104" cy="130072"/>
            </a:xfrm>
            <a:custGeom>
              <a:avLst/>
              <a:gdLst>
                <a:gd name="connsiteX0" fmla="*/ 108974 w 156104"/>
                <a:gd name="connsiteY0" fmla="*/ 69813 h 130072"/>
                <a:gd name="connsiteX1" fmla="*/ 112046 w 156104"/>
                <a:gd name="connsiteY1" fmla="*/ 88754 h 130072"/>
                <a:gd name="connsiteX2" fmla="*/ 115509 w 156104"/>
                <a:gd name="connsiteY2" fmla="*/ 70008 h 130072"/>
                <a:gd name="connsiteX3" fmla="*/ 132029 w 156104"/>
                <a:gd name="connsiteY3" fmla="*/ 4783 h 130072"/>
                <a:gd name="connsiteX4" fmla="*/ 137592 w 156104"/>
                <a:gd name="connsiteY4" fmla="*/ 0 h 130072"/>
                <a:gd name="connsiteX5" fmla="*/ 152203 w 156104"/>
                <a:gd name="connsiteY5" fmla="*/ 0 h 130072"/>
                <a:gd name="connsiteX6" fmla="*/ 155855 w 156104"/>
                <a:gd name="connsiteY6" fmla="*/ 4783 h 130072"/>
                <a:gd name="connsiteX7" fmla="*/ 125311 w 156104"/>
                <a:gd name="connsiteY7" fmla="*/ 125285 h 130072"/>
                <a:gd name="connsiteX8" fmla="*/ 119357 w 156104"/>
                <a:gd name="connsiteY8" fmla="*/ 130073 h 130072"/>
                <a:gd name="connsiteX9" fmla="*/ 103033 w 156104"/>
                <a:gd name="connsiteY9" fmla="*/ 130073 h 130072"/>
                <a:gd name="connsiteX10" fmla="*/ 97654 w 156104"/>
                <a:gd name="connsiteY10" fmla="*/ 125285 h 130072"/>
                <a:gd name="connsiteX11" fmla="*/ 80743 w 156104"/>
                <a:gd name="connsiteY11" fmla="*/ 58719 h 130072"/>
                <a:gd name="connsiteX12" fmla="*/ 78051 w 156104"/>
                <a:gd name="connsiteY12" fmla="*/ 41313 h 130072"/>
                <a:gd name="connsiteX13" fmla="*/ 75370 w 156104"/>
                <a:gd name="connsiteY13" fmla="*/ 58719 h 130072"/>
                <a:gd name="connsiteX14" fmla="*/ 58464 w 156104"/>
                <a:gd name="connsiteY14" fmla="*/ 125285 h 130072"/>
                <a:gd name="connsiteX15" fmla="*/ 52493 w 156104"/>
                <a:gd name="connsiteY15" fmla="*/ 130073 h 130072"/>
                <a:gd name="connsiteX16" fmla="*/ 36163 w 156104"/>
                <a:gd name="connsiteY16" fmla="*/ 130073 h 130072"/>
                <a:gd name="connsiteX17" fmla="*/ 30790 w 156104"/>
                <a:gd name="connsiteY17" fmla="*/ 125285 h 130072"/>
                <a:gd name="connsiteX18" fmla="*/ 240 w 156104"/>
                <a:gd name="connsiteY18" fmla="*/ 4783 h 130072"/>
                <a:gd name="connsiteX19" fmla="*/ 3899 w 156104"/>
                <a:gd name="connsiteY19" fmla="*/ 0 h 130072"/>
                <a:gd name="connsiteX20" fmla="*/ 21000 w 156104"/>
                <a:gd name="connsiteY20" fmla="*/ 0 h 130072"/>
                <a:gd name="connsiteX21" fmla="*/ 26562 w 156104"/>
                <a:gd name="connsiteY21" fmla="*/ 4783 h 130072"/>
                <a:gd name="connsiteX22" fmla="*/ 42703 w 156104"/>
                <a:gd name="connsiteY22" fmla="*/ 70008 h 130072"/>
                <a:gd name="connsiteX23" fmla="*/ 45775 w 156104"/>
                <a:gd name="connsiteY23" fmla="*/ 86068 h 130072"/>
                <a:gd name="connsiteX24" fmla="*/ 49244 w 156104"/>
                <a:gd name="connsiteY24" fmla="*/ 70008 h 130072"/>
                <a:gd name="connsiteX25" fmla="*/ 65764 w 156104"/>
                <a:gd name="connsiteY25" fmla="*/ 4783 h 130072"/>
                <a:gd name="connsiteX26" fmla="*/ 71516 w 156104"/>
                <a:gd name="connsiteY26" fmla="*/ 0 h 130072"/>
                <a:gd name="connsiteX27" fmla="*/ 87076 w 156104"/>
                <a:gd name="connsiteY27" fmla="*/ 0 h 130072"/>
                <a:gd name="connsiteX28" fmla="*/ 92851 w 156104"/>
                <a:gd name="connsiteY28" fmla="*/ 4783 h 130072"/>
                <a:gd name="connsiteX29" fmla="*/ 108986 w 156104"/>
                <a:gd name="connsiteY29" fmla="*/ 69813 h 13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6104" h="130072">
                  <a:moveTo>
                    <a:pt x="108974" y="69813"/>
                  </a:moveTo>
                  <a:cubicBezTo>
                    <a:pt x="110516" y="76314"/>
                    <a:pt x="111868" y="87030"/>
                    <a:pt x="112046" y="88754"/>
                  </a:cubicBezTo>
                  <a:cubicBezTo>
                    <a:pt x="112236" y="87414"/>
                    <a:pt x="113398" y="78428"/>
                    <a:pt x="115509" y="70008"/>
                  </a:cubicBezTo>
                  <a:lnTo>
                    <a:pt x="132029" y="4783"/>
                  </a:lnTo>
                  <a:cubicBezTo>
                    <a:pt x="132788" y="1724"/>
                    <a:pt x="134324" y="0"/>
                    <a:pt x="137592" y="0"/>
                  </a:cubicBezTo>
                  <a:lnTo>
                    <a:pt x="152203" y="0"/>
                  </a:lnTo>
                  <a:cubicBezTo>
                    <a:pt x="155666" y="0"/>
                    <a:pt x="156626" y="1724"/>
                    <a:pt x="155855" y="4783"/>
                  </a:cubicBezTo>
                  <a:lnTo>
                    <a:pt x="125311" y="125285"/>
                  </a:lnTo>
                  <a:cubicBezTo>
                    <a:pt x="124540" y="128544"/>
                    <a:pt x="122625" y="130073"/>
                    <a:pt x="119357" y="130073"/>
                  </a:cubicBezTo>
                  <a:lnTo>
                    <a:pt x="103033" y="130073"/>
                  </a:lnTo>
                  <a:cubicBezTo>
                    <a:pt x="100139" y="130073"/>
                    <a:pt x="98408" y="128355"/>
                    <a:pt x="97654" y="125285"/>
                  </a:cubicBezTo>
                  <a:lnTo>
                    <a:pt x="80743" y="58719"/>
                  </a:lnTo>
                  <a:cubicBezTo>
                    <a:pt x="79580" y="54527"/>
                    <a:pt x="78234" y="43421"/>
                    <a:pt x="78051" y="41313"/>
                  </a:cubicBezTo>
                  <a:cubicBezTo>
                    <a:pt x="77861" y="43232"/>
                    <a:pt x="76319" y="54905"/>
                    <a:pt x="75370" y="58719"/>
                  </a:cubicBezTo>
                  <a:lnTo>
                    <a:pt x="58464" y="125285"/>
                  </a:lnTo>
                  <a:cubicBezTo>
                    <a:pt x="57682" y="128544"/>
                    <a:pt x="55956" y="130073"/>
                    <a:pt x="52493" y="130073"/>
                  </a:cubicBezTo>
                  <a:lnTo>
                    <a:pt x="36163" y="130073"/>
                  </a:lnTo>
                  <a:cubicBezTo>
                    <a:pt x="33287" y="130073"/>
                    <a:pt x="31561" y="128355"/>
                    <a:pt x="30790" y="125285"/>
                  </a:cubicBezTo>
                  <a:lnTo>
                    <a:pt x="240" y="4783"/>
                  </a:lnTo>
                  <a:cubicBezTo>
                    <a:pt x="-513" y="1724"/>
                    <a:pt x="453" y="0"/>
                    <a:pt x="3899" y="0"/>
                  </a:cubicBezTo>
                  <a:lnTo>
                    <a:pt x="21000" y="0"/>
                  </a:lnTo>
                  <a:cubicBezTo>
                    <a:pt x="24261" y="0"/>
                    <a:pt x="25797" y="1724"/>
                    <a:pt x="26562" y="4783"/>
                  </a:cubicBezTo>
                  <a:lnTo>
                    <a:pt x="42703" y="70008"/>
                  </a:lnTo>
                  <a:cubicBezTo>
                    <a:pt x="44435" y="77087"/>
                    <a:pt x="45775" y="86068"/>
                    <a:pt x="45775" y="86068"/>
                  </a:cubicBezTo>
                  <a:cubicBezTo>
                    <a:pt x="45775" y="86068"/>
                    <a:pt x="46753" y="79756"/>
                    <a:pt x="49244" y="70008"/>
                  </a:cubicBezTo>
                  <a:lnTo>
                    <a:pt x="65764" y="4783"/>
                  </a:lnTo>
                  <a:cubicBezTo>
                    <a:pt x="66529" y="1724"/>
                    <a:pt x="68071" y="0"/>
                    <a:pt x="71516" y="0"/>
                  </a:cubicBezTo>
                  <a:lnTo>
                    <a:pt x="87076" y="0"/>
                  </a:lnTo>
                  <a:cubicBezTo>
                    <a:pt x="90539" y="0"/>
                    <a:pt x="92086" y="1724"/>
                    <a:pt x="92851" y="4783"/>
                  </a:cubicBezTo>
                  <a:lnTo>
                    <a:pt x="108986" y="69813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8CCC3276-99B3-0799-4800-322FC82575BC}"/>
                </a:ext>
              </a:extLst>
            </p:cNvPr>
            <p:cNvSpPr/>
            <p:nvPr/>
          </p:nvSpPr>
          <p:spPr>
            <a:xfrm>
              <a:off x="10921104" y="6634804"/>
              <a:ext cx="77045" cy="130078"/>
            </a:xfrm>
            <a:custGeom>
              <a:avLst/>
              <a:gdLst>
                <a:gd name="connsiteX0" fmla="*/ 4607 w 77045"/>
                <a:gd name="connsiteY0" fmla="*/ 130073 h 130078"/>
                <a:gd name="connsiteX1" fmla="*/ 0 w 77045"/>
                <a:gd name="connsiteY1" fmla="*/ 125107 h 130078"/>
                <a:gd name="connsiteX2" fmla="*/ 0 w 77045"/>
                <a:gd name="connsiteY2" fmla="*/ 4977 h 130078"/>
                <a:gd name="connsiteX3" fmla="*/ 4607 w 77045"/>
                <a:gd name="connsiteY3" fmla="*/ 0 h 130078"/>
                <a:gd name="connsiteX4" fmla="*/ 70310 w 77045"/>
                <a:gd name="connsiteY4" fmla="*/ 0 h 130078"/>
                <a:gd name="connsiteX5" fmla="*/ 75113 w 77045"/>
                <a:gd name="connsiteY5" fmla="*/ 4594 h 130078"/>
                <a:gd name="connsiteX6" fmla="*/ 75113 w 77045"/>
                <a:gd name="connsiteY6" fmla="*/ 16644 h 130078"/>
                <a:gd name="connsiteX7" fmla="*/ 70310 w 77045"/>
                <a:gd name="connsiteY7" fmla="*/ 21427 h 130078"/>
                <a:gd name="connsiteX8" fmla="*/ 25931 w 77045"/>
                <a:gd name="connsiteY8" fmla="*/ 21427 h 130078"/>
                <a:gd name="connsiteX9" fmla="*/ 25931 w 77045"/>
                <a:gd name="connsiteY9" fmla="*/ 52407 h 130078"/>
                <a:gd name="connsiteX10" fmla="*/ 67048 w 77045"/>
                <a:gd name="connsiteY10" fmla="*/ 52407 h 130078"/>
                <a:gd name="connsiteX11" fmla="*/ 72035 w 77045"/>
                <a:gd name="connsiteY11" fmla="*/ 56995 h 130078"/>
                <a:gd name="connsiteX12" fmla="*/ 72035 w 77045"/>
                <a:gd name="connsiteY12" fmla="*/ 68479 h 130078"/>
                <a:gd name="connsiteX13" fmla="*/ 67048 w 77045"/>
                <a:gd name="connsiteY13" fmla="*/ 73066 h 130078"/>
                <a:gd name="connsiteX14" fmla="*/ 25931 w 77045"/>
                <a:gd name="connsiteY14" fmla="*/ 73066 h 130078"/>
                <a:gd name="connsiteX15" fmla="*/ 25931 w 77045"/>
                <a:gd name="connsiteY15" fmla="*/ 108652 h 130078"/>
                <a:gd name="connsiteX16" fmla="*/ 72237 w 77045"/>
                <a:gd name="connsiteY16" fmla="*/ 108652 h 130078"/>
                <a:gd name="connsiteX17" fmla="*/ 77046 w 77045"/>
                <a:gd name="connsiteY17" fmla="*/ 113251 h 130078"/>
                <a:gd name="connsiteX18" fmla="*/ 77046 w 77045"/>
                <a:gd name="connsiteY18" fmla="*/ 125290 h 130078"/>
                <a:gd name="connsiteX19" fmla="*/ 72237 w 77045"/>
                <a:gd name="connsiteY19" fmla="*/ 130079 h 130078"/>
                <a:gd name="connsiteX20" fmla="*/ 4607 w 77045"/>
                <a:gd name="connsiteY20" fmla="*/ 130079 h 130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045" h="130078">
                  <a:moveTo>
                    <a:pt x="4607" y="130073"/>
                  </a:moveTo>
                  <a:cubicBezTo>
                    <a:pt x="1156" y="130073"/>
                    <a:pt x="0" y="128550"/>
                    <a:pt x="0" y="125107"/>
                  </a:cubicBezTo>
                  <a:lnTo>
                    <a:pt x="0" y="4977"/>
                  </a:lnTo>
                  <a:cubicBezTo>
                    <a:pt x="0" y="1523"/>
                    <a:pt x="1156" y="0"/>
                    <a:pt x="4607" y="0"/>
                  </a:cubicBezTo>
                  <a:lnTo>
                    <a:pt x="70310" y="0"/>
                  </a:lnTo>
                  <a:cubicBezTo>
                    <a:pt x="73595" y="0"/>
                    <a:pt x="75113" y="1151"/>
                    <a:pt x="75113" y="4594"/>
                  </a:cubicBezTo>
                  <a:lnTo>
                    <a:pt x="75113" y="16644"/>
                  </a:lnTo>
                  <a:cubicBezTo>
                    <a:pt x="75113" y="20087"/>
                    <a:pt x="73595" y="21427"/>
                    <a:pt x="70310" y="21427"/>
                  </a:cubicBezTo>
                  <a:lnTo>
                    <a:pt x="25931" y="21427"/>
                  </a:lnTo>
                  <a:lnTo>
                    <a:pt x="25931" y="52407"/>
                  </a:lnTo>
                  <a:lnTo>
                    <a:pt x="67048" y="52407"/>
                  </a:lnTo>
                  <a:cubicBezTo>
                    <a:pt x="70505" y="52407"/>
                    <a:pt x="72035" y="53558"/>
                    <a:pt x="72035" y="56995"/>
                  </a:cubicBezTo>
                  <a:lnTo>
                    <a:pt x="72035" y="68479"/>
                  </a:lnTo>
                  <a:cubicBezTo>
                    <a:pt x="72035" y="71726"/>
                    <a:pt x="70505" y="73066"/>
                    <a:pt x="67048" y="73066"/>
                  </a:cubicBezTo>
                  <a:lnTo>
                    <a:pt x="25931" y="73066"/>
                  </a:lnTo>
                  <a:lnTo>
                    <a:pt x="25931" y="108652"/>
                  </a:lnTo>
                  <a:lnTo>
                    <a:pt x="72237" y="108652"/>
                  </a:lnTo>
                  <a:cubicBezTo>
                    <a:pt x="75688" y="108652"/>
                    <a:pt x="77046" y="109791"/>
                    <a:pt x="77046" y="113251"/>
                  </a:cubicBezTo>
                  <a:lnTo>
                    <a:pt x="77046" y="125290"/>
                  </a:lnTo>
                  <a:cubicBezTo>
                    <a:pt x="77046" y="128733"/>
                    <a:pt x="75688" y="130079"/>
                    <a:pt x="72237" y="130079"/>
                  </a:cubicBezTo>
                  <a:lnTo>
                    <a:pt x="4607" y="130079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247DA3DF-2316-89BC-C157-2B37936370D8}"/>
                </a:ext>
              </a:extLst>
            </p:cNvPr>
            <p:cNvSpPr/>
            <p:nvPr/>
          </p:nvSpPr>
          <p:spPr>
            <a:xfrm>
              <a:off x="11019467" y="6634810"/>
              <a:ext cx="91450" cy="130067"/>
            </a:xfrm>
            <a:custGeom>
              <a:avLst/>
              <a:gdLst>
                <a:gd name="connsiteX0" fmla="*/ 25931 w 91450"/>
                <a:gd name="connsiteY0" fmla="*/ 80530 h 130067"/>
                <a:gd name="connsiteX1" fmla="*/ 25931 w 91450"/>
                <a:gd name="connsiteY1" fmla="*/ 125101 h 130067"/>
                <a:gd name="connsiteX2" fmla="*/ 21324 w 91450"/>
                <a:gd name="connsiteY2" fmla="*/ 130067 h 130067"/>
                <a:gd name="connsiteX3" fmla="*/ 4625 w 91450"/>
                <a:gd name="connsiteY3" fmla="*/ 130067 h 130067"/>
                <a:gd name="connsiteX4" fmla="*/ 0 w 91450"/>
                <a:gd name="connsiteY4" fmla="*/ 125101 h 130067"/>
                <a:gd name="connsiteX5" fmla="*/ 0 w 91450"/>
                <a:gd name="connsiteY5" fmla="*/ 4971 h 130067"/>
                <a:gd name="connsiteX6" fmla="*/ 4625 w 91450"/>
                <a:gd name="connsiteY6" fmla="*/ 0 h 130067"/>
                <a:gd name="connsiteX7" fmla="*/ 44954 w 91450"/>
                <a:gd name="connsiteY7" fmla="*/ 0 h 130067"/>
                <a:gd name="connsiteX8" fmla="*/ 91449 w 91450"/>
                <a:gd name="connsiteY8" fmla="*/ 31175 h 130067"/>
                <a:gd name="connsiteX9" fmla="*/ 91449 w 91450"/>
                <a:gd name="connsiteY9" fmla="*/ 49349 h 130067"/>
                <a:gd name="connsiteX10" fmla="*/ 70327 w 91450"/>
                <a:gd name="connsiteY10" fmla="*/ 76898 h 130067"/>
                <a:gd name="connsiteX11" fmla="*/ 91064 w 91450"/>
                <a:gd name="connsiteY11" fmla="*/ 125101 h 130067"/>
                <a:gd name="connsiteX12" fmla="*/ 86646 w 91450"/>
                <a:gd name="connsiteY12" fmla="*/ 130067 h 130067"/>
                <a:gd name="connsiteX13" fmla="*/ 69752 w 91450"/>
                <a:gd name="connsiteY13" fmla="*/ 130067 h 130067"/>
                <a:gd name="connsiteX14" fmla="*/ 64937 w 91450"/>
                <a:gd name="connsiteY14" fmla="*/ 125101 h 130067"/>
                <a:gd name="connsiteX15" fmla="*/ 46110 w 91450"/>
                <a:gd name="connsiteY15" fmla="*/ 80530 h 130067"/>
                <a:gd name="connsiteX16" fmla="*/ 25931 w 91450"/>
                <a:gd name="connsiteY16" fmla="*/ 80530 h 130067"/>
                <a:gd name="connsiteX17" fmla="*/ 25931 w 91450"/>
                <a:gd name="connsiteY17" fmla="*/ 21415 h 130067"/>
                <a:gd name="connsiteX18" fmla="*/ 25931 w 91450"/>
                <a:gd name="connsiteY18" fmla="*/ 59097 h 130067"/>
                <a:gd name="connsiteX19" fmla="*/ 44948 w 91450"/>
                <a:gd name="connsiteY19" fmla="*/ 59097 h 130067"/>
                <a:gd name="connsiteX20" fmla="*/ 65708 w 91450"/>
                <a:gd name="connsiteY20" fmla="*/ 44749 h 130067"/>
                <a:gd name="connsiteX21" fmla="*/ 65708 w 91450"/>
                <a:gd name="connsiteY21" fmla="*/ 35769 h 130067"/>
                <a:gd name="connsiteX22" fmla="*/ 44948 w 91450"/>
                <a:gd name="connsiteY22" fmla="*/ 21415 h 130067"/>
                <a:gd name="connsiteX23" fmla="*/ 25931 w 91450"/>
                <a:gd name="connsiteY23" fmla="*/ 21415 h 13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1450" h="130067">
                  <a:moveTo>
                    <a:pt x="25931" y="80530"/>
                  </a:moveTo>
                  <a:lnTo>
                    <a:pt x="25931" y="125101"/>
                  </a:lnTo>
                  <a:cubicBezTo>
                    <a:pt x="25931" y="128544"/>
                    <a:pt x="24781" y="130067"/>
                    <a:pt x="21324" y="130067"/>
                  </a:cubicBezTo>
                  <a:lnTo>
                    <a:pt x="4625" y="130067"/>
                  </a:lnTo>
                  <a:cubicBezTo>
                    <a:pt x="1156" y="130067"/>
                    <a:pt x="0" y="128544"/>
                    <a:pt x="0" y="125101"/>
                  </a:cubicBezTo>
                  <a:lnTo>
                    <a:pt x="0" y="4971"/>
                  </a:lnTo>
                  <a:cubicBezTo>
                    <a:pt x="0" y="1529"/>
                    <a:pt x="1156" y="0"/>
                    <a:pt x="4625" y="0"/>
                  </a:cubicBezTo>
                  <a:lnTo>
                    <a:pt x="44954" y="0"/>
                  </a:lnTo>
                  <a:cubicBezTo>
                    <a:pt x="79732" y="0"/>
                    <a:pt x="91449" y="15109"/>
                    <a:pt x="91449" y="31175"/>
                  </a:cubicBezTo>
                  <a:lnTo>
                    <a:pt x="91449" y="49349"/>
                  </a:lnTo>
                  <a:cubicBezTo>
                    <a:pt x="91449" y="60632"/>
                    <a:pt x="85679" y="71348"/>
                    <a:pt x="70327" y="76898"/>
                  </a:cubicBezTo>
                  <a:lnTo>
                    <a:pt x="91064" y="125101"/>
                  </a:lnTo>
                  <a:cubicBezTo>
                    <a:pt x="92404" y="128160"/>
                    <a:pt x="90103" y="130067"/>
                    <a:pt x="86646" y="130067"/>
                  </a:cubicBezTo>
                  <a:lnTo>
                    <a:pt x="69752" y="130067"/>
                  </a:lnTo>
                  <a:cubicBezTo>
                    <a:pt x="67054" y="130067"/>
                    <a:pt x="66289" y="128154"/>
                    <a:pt x="64937" y="125101"/>
                  </a:cubicBezTo>
                  <a:lnTo>
                    <a:pt x="46110" y="80530"/>
                  </a:lnTo>
                  <a:lnTo>
                    <a:pt x="25931" y="80530"/>
                  </a:lnTo>
                  <a:close/>
                  <a:moveTo>
                    <a:pt x="25931" y="21415"/>
                  </a:moveTo>
                  <a:lnTo>
                    <a:pt x="25931" y="59097"/>
                  </a:lnTo>
                  <a:lnTo>
                    <a:pt x="44948" y="59097"/>
                  </a:lnTo>
                  <a:cubicBezTo>
                    <a:pt x="57821" y="59097"/>
                    <a:pt x="65708" y="54320"/>
                    <a:pt x="65708" y="44749"/>
                  </a:cubicBezTo>
                  <a:lnTo>
                    <a:pt x="65708" y="35769"/>
                  </a:lnTo>
                  <a:cubicBezTo>
                    <a:pt x="65708" y="26204"/>
                    <a:pt x="57827" y="21415"/>
                    <a:pt x="44948" y="21415"/>
                  </a:cubicBezTo>
                  <a:lnTo>
                    <a:pt x="25931" y="21415"/>
                  </a:lnTo>
                  <a:close/>
                </a:path>
              </a:pathLst>
            </a:custGeom>
            <a:solidFill>
              <a:srgbClr val="D0202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D5711EE-BA0F-B5B0-2766-9B66CB1048F7}"/>
                </a:ext>
              </a:extLst>
            </p:cNvPr>
            <p:cNvSpPr/>
            <p:nvPr/>
          </p:nvSpPr>
          <p:spPr>
            <a:xfrm>
              <a:off x="11158663" y="6634615"/>
              <a:ext cx="2698" cy="130887"/>
            </a:xfrm>
            <a:custGeom>
              <a:avLst/>
              <a:gdLst>
                <a:gd name="connsiteX0" fmla="*/ 0 w 2698"/>
                <a:gd name="connsiteY0" fmla="*/ 0 h 130887"/>
                <a:gd name="connsiteX1" fmla="*/ 2698 w 2698"/>
                <a:gd name="connsiteY1" fmla="*/ 0 h 130887"/>
                <a:gd name="connsiteX2" fmla="*/ 2698 w 2698"/>
                <a:gd name="connsiteY2" fmla="*/ 130888 h 130887"/>
                <a:gd name="connsiteX3" fmla="*/ 0 w 2698"/>
                <a:gd name="connsiteY3" fmla="*/ 130888 h 130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8" h="130887">
                  <a:moveTo>
                    <a:pt x="0" y="0"/>
                  </a:moveTo>
                  <a:lnTo>
                    <a:pt x="2698" y="0"/>
                  </a:lnTo>
                  <a:lnTo>
                    <a:pt x="2698" y="130888"/>
                  </a:lnTo>
                  <a:lnTo>
                    <a:pt x="0" y="13088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FF244116-A9C7-D73E-79F3-7916F4C21957}"/>
                </a:ext>
              </a:extLst>
            </p:cNvPr>
            <p:cNvSpPr/>
            <p:nvPr/>
          </p:nvSpPr>
          <p:spPr>
            <a:xfrm>
              <a:off x="11206955" y="6634013"/>
              <a:ext cx="41295" cy="57537"/>
            </a:xfrm>
            <a:custGeom>
              <a:avLst/>
              <a:gdLst>
                <a:gd name="connsiteX0" fmla="*/ 1785 w 41295"/>
                <a:gd name="connsiteY0" fmla="*/ 57538 h 57537"/>
                <a:gd name="connsiteX1" fmla="*/ 0 w 41295"/>
                <a:gd name="connsiteY1" fmla="*/ 55336 h 57537"/>
                <a:gd name="connsiteX2" fmla="*/ 0 w 41295"/>
                <a:gd name="connsiteY2" fmla="*/ 2202 h 57537"/>
                <a:gd name="connsiteX3" fmla="*/ 2040 w 41295"/>
                <a:gd name="connsiteY3" fmla="*/ 0 h 57537"/>
                <a:gd name="connsiteX4" fmla="*/ 20564 w 41295"/>
                <a:gd name="connsiteY4" fmla="*/ 0 h 57537"/>
                <a:gd name="connsiteX5" fmla="*/ 41295 w 41295"/>
                <a:gd name="connsiteY5" fmla="*/ 13793 h 57537"/>
                <a:gd name="connsiteX6" fmla="*/ 41295 w 41295"/>
                <a:gd name="connsiteY6" fmla="*/ 43745 h 57537"/>
                <a:gd name="connsiteX7" fmla="*/ 20564 w 41295"/>
                <a:gd name="connsiteY7" fmla="*/ 57538 h 57537"/>
                <a:gd name="connsiteX8" fmla="*/ 1779 w 41295"/>
                <a:gd name="connsiteY8" fmla="*/ 57538 h 57537"/>
                <a:gd name="connsiteX9" fmla="*/ 11468 w 41295"/>
                <a:gd name="connsiteY9" fmla="*/ 9476 h 57537"/>
                <a:gd name="connsiteX10" fmla="*/ 11468 w 41295"/>
                <a:gd name="connsiteY10" fmla="*/ 48061 h 57537"/>
                <a:gd name="connsiteX11" fmla="*/ 20564 w 41295"/>
                <a:gd name="connsiteY11" fmla="*/ 48061 h 57537"/>
                <a:gd name="connsiteX12" fmla="*/ 29821 w 41295"/>
                <a:gd name="connsiteY12" fmla="*/ 41714 h 57537"/>
                <a:gd name="connsiteX13" fmla="*/ 29821 w 41295"/>
                <a:gd name="connsiteY13" fmla="*/ 15824 h 57537"/>
                <a:gd name="connsiteX14" fmla="*/ 20564 w 41295"/>
                <a:gd name="connsiteY14" fmla="*/ 9476 h 57537"/>
                <a:gd name="connsiteX15" fmla="*/ 11468 w 41295"/>
                <a:gd name="connsiteY15" fmla="*/ 9476 h 5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295" h="57537">
                  <a:moveTo>
                    <a:pt x="1785" y="57538"/>
                  </a:moveTo>
                  <a:cubicBezTo>
                    <a:pt x="427" y="57538"/>
                    <a:pt x="0" y="56776"/>
                    <a:pt x="0" y="55336"/>
                  </a:cubicBezTo>
                  <a:lnTo>
                    <a:pt x="0" y="2202"/>
                  </a:lnTo>
                  <a:cubicBezTo>
                    <a:pt x="0" y="679"/>
                    <a:pt x="510" y="0"/>
                    <a:pt x="2040" y="0"/>
                  </a:cubicBezTo>
                  <a:lnTo>
                    <a:pt x="20564" y="0"/>
                  </a:lnTo>
                  <a:cubicBezTo>
                    <a:pt x="35946" y="0"/>
                    <a:pt x="41295" y="6684"/>
                    <a:pt x="41295" y="13793"/>
                  </a:cubicBezTo>
                  <a:lnTo>
                    <a:pt x="41295" y="43745"/>
                  </a:lnTo>
                  <a:cubicBezTo>
                    <a:pt x="41295" y="50854"/>
                    <a:pt x="35940" y="57538"/>
                    <a:pt x="20564" y="57538"/>
                  </a:cubicBezTo>
                  <a:lnTo>
                    <a:pt x="1779" y="57538"/>
                  </a:lnTo>
                  <a:close/>
                  <a:moveTo>
                    <a:pt x="11468" y="9476"/>
                  </a:moveTo>
                  <a:lnTo>
                    <a:pt x="11468" y="48061"/>
                  </a:lnTo>
                  <a:lnTo>
                    <a:pt x="20564" y="48061"/>
                  </a:lnTo>
                  <a:cubicBezTo>
                    <a:pt x="26340" y="48061"/>
                    <a:pt x="29821" y="45942"/>
                    <a:pt x="29821" y="41714"/>
                  </a:cubicBezTo>
                  <a:lnTo>
                    <a:pt x="29821" y="15824"/>
                  </a:lnTo>
                  <a:cubicBezTo>
                    <a:pt x="29821" y="11590"/>
                    <a:pt x="26340" y="9476"/>
                    <a:pt x="20564" y="9476"/>
                  </a:cubicBezTo>
                  <a:lnTo>
                    <a:pt x="11468" y="947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CF7C0390-2494-CDB8-799A-FC95790AE494}"/>
                </a:ext>
              </a:extLst>
            </p:cNvPr>
            <p:cNvSpPr/>
            <p:nvPr/>
          </p:nvSpPr>
          <p:spPr>
            <a:xfrm>
              <a:off x="11257436" y="6648738"/>
              <a:ext cx="34499" cy="43491"/>
            </a:xfrm>
            <a:custGeom>
              <a:avLst/>
              <a:gdLst>
                <a:gd name="connsiteX0" fmla="*/ 34494 w 34499"/>
                <a:gd name="connsiteY0" fmla="*/ 22248 h 43491"/>
                <a:gd name="connsiteX1" fmla="*/ 32626 w 34499"/>
                <a:gd name="connsiteY1" fmla="*/ 24196 h 43491"/>
                <a:gd name="connsiteX2" fmla="*/ 10875 w 34499"/>
                <a:gd name="connsiteY2" fmla="*/ 24196 h 43491"/>
                <a:gd name="connsiteX3" fmla="*/ 10875 w 34499"/>
                <a:gd name="connsiteY3" fmla="*/ 30461 h 43491"/>
                <a:gd name="connsiteX4" fmla="*/ 17505 w 34499"/>
                <a:gd name="connsiteY4" fmla="*/ 35113 h 43491"/>
                <a:gd name="connsiteX5" fmla="*/ 24134 w 34499"/>
                <a:gd name="connsiteY5" fmla="*/ 30461 h 43491"/>
                <a:gd name="connsiteX6" fmla="*/ 24134 w 34499"/>
                <a:gd name="connsiteY6" fmla="*/ 30035 h 43491"/>
                <a:gd name="connsiteX7" fmla="*/ 26257 w 34499"/>
                <a:gd name="connsiteY7" fmla="*/ 27922 h 43491"/>
                <a:gd name="connsiteX8" fmla="*/ 32205 w 34499"/>
                <a:gd name="connsiteY8" fmla="*/ 27922 h 43491"/>
                <a:gd name="connsiteX9" fmla="*/ 34328 w 34499"/>
                <a:gd name="connsiteY9" fmla="*/ 30035 h 43491"/>
                <a:gd name="connsiteX10" fmla="*/ 34328 w 34499"/>
                <a:gd name="connsiteY10" fmla="*/ 30968 h 43491"/>
                <a:gd name="connsiteX11" fmla="*/ 17416 w 34499"/>
                <a:gd name="connsiteY11" fmla="*/ 43491 h 43491"/>
                <a:gd name="connsiteX12" fmla="*/ 0 w 34499"/>
                <a:gd name="connsiteY12" fmla="*/ 30968 h 43491"/>
                <a:gd name="connsiteX13" fmla="*/ 0 w 34499"/>
                <a:gd name="connsiteY13" fmla="*/ 12435 h 43491"/>
                <a:gd name="connsiteX14" fmla="*/ 17505 w 34499"/>
                <a:gd name="connsiteY14" fmla="*/ 0 h 43491"/>
                <a:gd name="connsiteX15" fmla="*/ 34499 w 34499"/>
                <a:gd name="connsiteY15" fmla="*/ 12435 h 43491"/>
                <a:gd name="connsiteX16" fmla="*/ 34499 w 34499"/>
                <a:gd name="connsiteY16" fmla="*/ 22254 h 43491"/>
                <a:gd name="connsiteX17" fmla="*/ 10869 w 34499"/>
                <a:gd name="connsiteY17" fmla="*/ 16751 h 43491"/>
                <a:gd name="connsiteX18" fmla="*/ 24128 w 34499"/>
                <a:gd name="connsiteY18" fmla="*/ 16751 h 43491"/>
                <a:gd name="connsiteX19" fmla="*/ 24128 w 34499"/>
                <a:gd name="connsiteY19" fmla="*/ 13025 h 43491"/>
                <a:gd name="connsiteX20" fmla="*/ 17499 w 34499"/>
                <a:gd name="connsiteY20" fmla="*/ 8372 h 43491"/>
                <a:gd name="connsiteX21" fmla="*/ 10869 w 34499"/>
                <a:gd name="connsiteY21" fmla="*/ 13025 h 43491"/>
                <a:gd name="connsiteX22" fmla="*/ 10869 w 34499"/>
                <a:gd name="connsiteY22" fmla="*/ 16751 h 43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499" h="43491">
                  <a:moveTo>
                    <a:pt x="34494" y="22248"/>
                  </a:moveTo>
                  <a:cubicBezTo>
                    <a:pt x="34494" y="23600"/>
                    <a:pt x="33984" y="24196"/>
                    <a:pt x="32626" y="24196"/>
                  </a:cubicBezTo>
                  <a:lnTo>
                    <a:pt x="10875" y="24196"/>
                  </a:lnTo>
                  <a:lnTo>
                    <a:pt x="10875" y="30461"/>
                  </a:lnTo>
                  <a:cubicBezTo>
                    <a:pt x="10875" y="33419"/>
                    <a:pt x="12488" y="35113"/>
                    <a:pt x="17505" y="35113"/>
                  </a:cubicBezTo>
                  <a:cubicBezTo>
                    <a:pt x="22521" y="35113"/>
                    <a:pt x="24134" y="33419"/>
                    <a:pt x="24134" y="30461"/>
                  </a:cubicBezTo>
                  <a:lnTo>
                    <a:pt x="24134" y="30035"/>
                  </a:lnTo>
                  <a:cubicBezTo>
                    <a:pt x="24134" y="28595"/>
                    <a:pt x="24727" y="27922"/>
                    <a:pt x="26257" y="27922"/>
                  </a:cubicBezTo>
                  <a:lnTo>
                    <a:pt x="32205" y="27922"/>
                  </a:lnTo>
                  <a:cubicBezTo>
                    <a:pt x="33652" y="27922"/>
                    <a:pt x="34328" y="28595"/>
                    <a:pt x="34328" y="30035"/>
                  </a:cubicBezTo>
                  <a:lnTo>
                    <a:pt x="34328" y="30968"/>
                  </a:lnTo>
                  <a:cubicBezTo>
                    <a:pt x="34328" y="38585"/>
                    <a:pt x="29910" y="43491"/>
                    <a:pt x="17416" y="43491"/>
                  </a:cubicBezTo>
                  <a:cubicBezTo>
                    <a:pt x="4922" y="43491"/>
                    <a:pt x="0" y="38585"/>
                    <a:pt x="0" y="30968"/>
                  </a:cubicBezTo>
                  <a:lnTo>
                    <a:pt x="0" y="12435"/>
                  </a:lnTo>
                  <a:cubicBezTo>
                    <a:pt x="0" y="4907"/>
                    <a:pt x="5011" y="0"/>
                    <a:pt x="17505" y="0"/>
                  </a:cubicBezTo>
                  <a:cubicBezTo>
                    <a:pt x="29999" y="0"/>
                    <a:pt x="34499" y="4907"/>
                    <a:pt x="34499" y="12435"/>
                  </a:cubicBezTo>
                  <a:lnTo>
                    <a:pt x="34499" y="22254"/>
                  </a:lnTo>
                  <a:close/>
                  <a:moveTo>
                    <a:pt x="10869" y="16751"/>
                  </a:moveTo>
                  <a:lnTo>
                    <a:pt x="24128" y="16751"/>
                  </a:lnTo>
                  <a:lnTo>
                    <a:pt x="24128" y="13025"/>
                  </a:lnTo>
                  <a:cubicBezTo>
                    <a:pt x="24128" y="10067"/>
                    <a:pt x="22260" y="8372"/>
                    <a:pt x="17499" y="8372"/>
                  </a:cubicBezTo>
                  <a:cubicBezTo>
                    <a:pt x="12737" y="8372"/>
                    <a:pt x="10869" y="10067"/>
                    <a:pt x="10869" y="13025"/>
                  </a:cubicBezTo>
                  <a:lnTo>
                    <a:pt x="10869" y="16751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1E8E2605-54ED-890A-44A5-24CAED99A908}"/>
                </a:ext>
              </a:extLst>
            </p:cNvPr>
            <p:cNvSpPr/>
            <p:nvPr/>
          </p:nvSpPr>
          <p:spPr>
            <a:xfrm>
              <a:off x="11206944" y="6705987"/>
              <a:ext cx="51595" cy="57537"/>
            </a:xfrm>
            <a:custGeom>
              <a:avLst/>
              <a:gdLst>
                <a:gd name="connsiteX0" fmla="*/ 51595 w 51595"/>
                <a:gd name="connsiteY0" fmla="*/ 55424 h 57537"/>
                <a:gd name="connsiteX1" fmla="*/ 49555 w 51595"/>
                <a:gd name="connsiteY1" fmla="*/ 57538 h 57537"/>
                <a:gd name="connsiteX2" fmla="*/ 42499 w 51595"/>
                <a:gd name="connsiteY2" fmla="*/ 57538 h 57537"/>
                <a:gd name="connsiteX3" fmla="*/ 40459 w 51595"/>
                <a:gd name="connsiteY3" fmla="*/ 55424 h 57537"/>
                <a:gd name="connsiteX4" fmla="*/ 40459 w 51595"/>
                <a:gd name="connsiteY4" fmla="*/ 23269 h 57537"/>
                <a:gd name="connsiteX5" fmla="*/ 37992 w 51595"/>
                <a:gd name="connsiteY5" fmla="*/ 30968 h 57537"/>
                <a:gd name="connsiteX6" fmla="*/ 31529 w 51595"/>
                <a:gd name="connsiteY6" fmla="*/ 46703 h 57537"/>
                <a:gd name="connsiteX7" fmla="*/ 28724 w 51595"/>
                <a:gd name="connsiteY7" fmla="*/ 48817 h 57537"/>
                <a:gd name="connsiteX8" fmla="*/ 22693 w 51595"/>
                <a:gd name="connsiteY8" fmla="*/ 48817 h 57537"/>
                <a:gd name="connsiteX9" fmla="*/ 19972 w 51595"/>
                <a:gd name="connsiteY9" fmla="*/ 46703 h 57537"/>
                <a:gd name="connsiteX10" fmla="*/ 12749 w 51595"/>
                <a:gd name="connsiteY10" fmla="*/ 29693 h 57537"/>
                <a:gd name="connsiteX11" fmla="*/ 10792 w 51595"/>
                <a:gd name="connsiteY11" fmla="*/ 23434 h 57537"/>
                <a:gd name="connsiteX12" fmla="*/ 10792 w 51595"/>
                <a:gd name="connsiteY12" fmla="*/ 55418 h 57537"/>
                <a:gd name="connsiteX13" fmla="*/ 8752 w 51595"/>
                <a:gd name="connsiteY13" fmla="*/ 57532 h 57537"/>
                <a:gd name="connsiteX14" fmla="*/ 2040 w 51595"/>
                <a:gd name="connsiteY14" fmla="*/ 57532 h 57537"/>
                <a:gd name="connsiteX15" fmla="*/ 0 w 51595"/>
                <a:gd name="connsiteY15" fmla="*/ 55418 h 57537"/>
                <a:gd name="connsiteX16" fmla="*/ 0 w 51595"/>
                <a:gd name="connsiteY16" fmla="*/ 2114 h 57537"/>
                <a:gd name="connsiteX17" fmla="*/ 2040 w 51595"/>
                <a:gd name="connsiteY17" fmla="*/ 0 h 57537"/>
                <a:gd name="connsiteX18" fmla="*/ 8752 w 51595"/>
                <a:gd name="connsiteY18" fmla="*/ 0 h 57537"/>
                <a:gd name="connsiteX19" fmla="*/ 10620 w 51595"/>
                <a:gd name="connsiteY19" fmla="*/ 1187 h 57537"/>
                <a:gd name="connsiteX20" fmla="*/ 23624 w 51595"/>
                <a:gd name="connsiteY20" fmla="*/ 30714 h 57537"/>
                <a:gd name="connsiteX21" fmla="*/ 25747 w 51595"/>
                <a:gd name="connsiteY21" fmla="*/ 36637 h 57537"/>
                <a:gd name="connsiteX22" fmla="*/ 27953 w 51595"/>
                <a:gd name="connsiteY22" fmla="*/ 30797 h 57537"/>
                <a:gd name="connsiteX23" fmla="*/ 40530 w 51595"/>
                <a:gd name="connsiteY23" fmla="*/ 1016 h 57537"/>
                <a:gd name="connsiteX24" fmla="*/ 42487 w 51595"/>
                <a:gd name="connsiteY24" fmla="*/ 0 h 57537"/>
                <a:gd name="connsiteX25" fmla="*/ 49543 w 51595"/>
                <a:gd name="connsiteY25" fmla="*/ 0 h 57537"/>
                <a:gd name="connsiteX26" fmla="*/ 51583 w 51595"/>
                <a:gd name="connsiteY26" fmla="*/ 2114 h 57537"/>
                <a:gd name="connsiteX27" fmla="*/ 51583 w 51595"/>
                <a:gd name="connsiteY27" fmla="*/ 55418 h 5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1595" h="57537">
                  <a:moveTo>
                    <a:pt x="51595" y="55424"/>
                  </a:moveTo>
                  <a:cubicBezTo>
                    <a:pt x="51595" y="56865"/>
                    <a:pt x="51085" y="57538"/>
                    <a:pt x="49555" y="57538"/>
                  </a:cubicBezTo>
                  <a:lnTo>
                    <a:pt x="42499" y="57538"/>
                  </a:lnTo>
                  <a:cubicBezTo>
                    <a:pt x="40969" y="57538"/>
                    <a:pt x="40459" y="56865"/>
                    <a:pt x="40459" y="55424"/>
                  </a:cubicBezTo>
                  <a:lnTo>
                    <a:pt x="40459" y="23269"/>
                  </a:lnTo>
                  <a:cubicBezTo>
                    <a:pt x="40376" y="23523"/>
                    <a:pt x="38846" y="28683"/>
                    <a:pt x="37992" y="30968"/>
                  </a:cubicBezTo>
                  <a:lnTo>
                    <a:pt x="31529" y="46703"/>
                  </a:lnTo>
                  <a:cubicBezTo>
                    <a:pt x="30936" y="48056"/>
                    <a:pt x="30171" y="48817"/>
                    <a:pt x="28724" y="48817"/>
                  </a:cubicBezTo>
                  <a:lnTo>
                    <a:pt x="22693" y="48817"/>
                  </a:lnTo>
                  <a:cubicBezTo>
                    <a:pt x="21246" y="48817"/>
                    <a:pt x="20487" y="47973"/>
                    <a:pt x="19972" y="46703"/>
                  </a:cubicBezTo>
                  <a:lnTo>
                    <a:pt x="12749" y="29693"/>
                  </a:lnTo>
                  <a:cubicBezTo>
                    <a:pt x="11895" y="27916"/>
                    <a:pt x="10881" y="24025"/>
                    <a:pt x="10792" y="23434"/>
                  </a:cubicBezTo>
                  <a:lnTo>
                    <a:pt x="10792" y="55418"/>
                  </a:lnTo>
                  <a:cubicBezTo>
                    <a:pt x="10792" y="56859"/>
                    <a:pt x="10282" y="57532"/>
                    <a:pt x="8752" y="57532"/>
                  </a:cubicBezTo>
                  <a:lnTo>
                    <a:pt x="2040" y="57532"/>
                  </a:lnTo>
                  <a:cubicBezTo>
                    <a:pt x="510" y="57532"/>
                    <a:pt x="0" y="56859"/>
                    <a:pt x="0" y="55418"/>
                  </a:cubicBezTo>
                  <a:lnTo>
                    <a:pt x="0" y="2114"/>
                  </a:lnTo>
                  <a:cubicBezTo>
                    <a:pt x="0" y="673"/>
                    <a:pt x="510" y="0"/>
                    <a:pt x="2040" y="0"/>
                  </a:cubicBezTo>
                  <a:lnTo>
                    <a:pt x="8752" y="0"/>
                  </a:lnTo>
                  <a:cubicBezTo>
                    <a:pt x="9855" y="0"/>
                    <a:pt x="10276" y="425"/>
                    <a:pt x="10620" y="1187"/>
                  </a:cubicBezTo>
                  <a:lnTo>
                    <a:pt x="23624" y="30714"/>
                  </a:lnTo>
                  <a:cubicBezTo>
                    <a:pt x="24644" y="32999"/>
                    <a:pt x="25747" y="36637"/>
                    <a:pt x="25747" y="36637"/>
                  </a:cubicBezTo>
                  <a:cubicBezTo>
                    <a:pt x="25747" y="36637"/>
                    <a:pt x="26850" y="33336"/>
                    <a:pt x="27953" y="30797"/>
                  </a:cubicBezTo>
                  <a:lnTo>
                    <a:pt x="40530" y="1016"/>
                  </a:lnTo>
                  <a:cubicBezTo>
                    <a:pt x="40874" y="254"/>
                    <a:pt x="41467" y="0"/>
                    <a:pt x="42487" y="0"/>
                  </a:cubicBezTo>
                  <a:lnTo>
                    <a:pt x="49543" y="0"/>
                  </a:lnTo>
                  <a:cubicBezTo>
                    <a:pt x="51073" y="0"/>
                    <a:pt x="51583" y="679"/>
                    <a:pt x="51583" y="2114"/>
                  </a:cubicBezTo>
                  <a:lnTo>
                    <a:pt x="51583" y="5541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D1143025-758F-2FD2-1447-D508079D8A50}"/>
                </a:ext>
              </a:extLst>
            </p:cNvPr>
            <p:cNvSpPr/>
            <p:nvPr/>
          </p:nvSpPr>
          <p:spPr>
            <a:xfrm>
              <a:off x="11307122" y="6721391"/>
              <a:ext cx="38532" cy="42133"/>
            </a:xfrm>
            <a:custGeom>
              <a:avLst/>
              <a:gdLst>
                <a:gd name="connsiteX0" fmla="*/ 38175 w 38532"/>
                <a:gd name="connsiteY0" fmla="*/ 40020 h 42133"/>
                <a:gd name="connsiteX1" fmla="*/ 37072 w 38532"/>
                <a:gd name="connsiteY1" fmla="*/ 42133 h 42133"/>
                <a:gd name="connsiteX2" fmla="*/ 29423 w 38532"/>
                <a:gd name="connsiteY2" fmla="*/ 42133 h 42133"/>
                <a:gd name="connsiteX3" fmla="*/ 26446 w 38532"/>
                <a:gd name="connsiteY3" fmla="*/ 40020 h 42133"/>
                <a:gd name="connsiteX4" fmla="*/ 18631 w 38532"/>
                <a:gd name="connsiteY4" fmla="*/ 28512 h 42133"/>
                <a:gd name="connsiteX5" fmla="*/ 11153 w 38532"/>
                <a:gd name="connsiteY5" fmla="*/ 40020 h 42133"/>
                <a:gd name="connsiteX6" fmla="*/ 8176 w 38532"/>
                <a:gd name="connsiteY6" fmla="*/ 42133 h 42133"/>
                <a:gd name="connsiteX7" fmla="*/ 1375 w 38532"/>
                <a:gd name="connsiteY7" fmla="*/ 42133 h 42133"/>
                <a:gd name="connsiteX8" fmla="*/ 361 w 38532"/>
                <a:gd name="connsiteY8" fmla="*/ 40020 h 42133"/>
                <a:gd name="connsiteX9" fmla="*/ 13365 w 38532"/>
                <a:gd name="connsiteY9" fmla="*/ 20648 h 42133"/>
                <a:gd name="connsiteX10" fmla="*/ 954 w 38532"/>
                <a:gd name="connsiteY10" fmla="*/ 2114 h 42133"/>
                <a:gd name="connsiteX11" fmla="*/ 1974 w 38532"/>
                <a:gd name="connsiteY11" fmla="*/ 0 h 42133"/>
                <a:gd name="connsiteX12" fmla="*/ 9623 w 38532"/>
                <a:gd name="connsiteY12" fmla="*/ 0 h 42133"/>
                <a:gd name="connsiteX13" fmla="*/ 12766 w 38532"/>
                <a:gd name="connsiteY13" fmla="*/ 2114 h 42133"/>
                <a:gd name="connsiteX14" fmla="*/ 20161 w 38532"/>
                <a:gd name="connsiteY14" fmla="*/ 13114 h 42133"/>
                <a:gd name="connsiteX15" fmla="*/ 27128 w 38532"/>
                <a:gd name="connsiteY15" fmla="*/ 2114 h 42133"/>
                <a:gd name="connsiteX16" fmla="*/ 30188 w 38532"/>
                <a:gd name="connsiteY16" fmla="*/ 0 h 42133"/>
                <a:gd name="connsiteX17" fmla="*/ 36989 w 38532"/>
                <a:gd name="connsiteY17" fmla="*/ 0 h 42133"/>
                <a:gd name="connsiteX18" fmla="*/ 38009 w 38532"/>
                <a:gd name="connsiteY18" fmla="*/ 2114 h 42133"/>
                <a:gd name="connsiteX19" fmla="*/ 25438 w 38532"/>
                <a:gd name="connsiteY19" fmla="*/ 20984 h 42133"/>
                <a:gd name="connsiteX20" fmla="*/ 38181 w 38532"/>
                <a:gd name="connsiteY20" fmla="*/ 40020 h 42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532" h="42133">
                  <a:moveTo>
                    <a:pt x="38175" y="40020"/>
                  </a:moveTo>
                  <a:cubicBezTo>
                    <a:pt x="38857" y="41035"/>
                    <a:pt x="38602" y="42133"/>
                    <a:pt x="37072" y="42133"/>
                  </a:cubicBezTo>
                  <a:lnTo>
                    <a:pt x="29423" y="42133"/>
                  </a:lnTo>
                  <a:cubicBezTo>
                    <a:pt x="27976" y="42133"/>
                    <a:pt x="27128" y="41035"/>
                    <a:pt x="26446" y="40020"/>
                  </a:cubicBezTo>
                  <a:lnTo>
                    <a:pt x="18631" y="28512"/>
                  </a:lnTo>
                  <a:lnTo>
                    <a:pt x="11153" y="40020"/>
                  </a:lnTo>
                  <a:cubicBezTo>
                    <a:pt x="10471" y="41035"/>
                    <a:pt x="9706" y="42133"/>
                    <a:pt x="8176" y="42133"/>
                  </a:cubicBezTo>
                  <a:lnTo>
                    <a:pt x="1375" y="42133"/>
                  </a:lnTo>
                  <a:cubicBezTo>
                    <a:pt x="-66" y="42133"/>
                    <a:pt x="-321" y="41035"/>
                    <a:pt x="361" y="40020"/>
                  </a:cubicBezTo>
                  <a:lnTo>
                    <a:pt x="13365" y="20648"/>
                  </a:lnTo>
                  <a:lnTo>
                    <a:pt x="954" y="2114"/>
                  </a:lnTo>
                  <a:cubicBezTo>
                    <a:pt x="189" y="1016"/>
                    <a:pt x="444" y="0"/>
                    <a:pt x="1974" y="0"/>
                  </a:cubicBezTo>
                  <a:lnTo>
                    <a:pt x="9623" y="0"/>
                  </a:lnTo>
                  <a:cubicBezTo>
                    <a:pt x="11153" y="0"/>
                    <a:pt x="11918" y="933"/>
                    <a:pt x="12766" y="2114"/>
                  </a:cubicBezTo>
                  <a:lnTo>
                    <a:pt x="20161" y="13114"/>
                  </a:lnTo>
                  <a:lnTo>
                    <a:pt x="27128" y="2114"/>
                  </a:lnTo>
                  <a:cubicBezTo>
                    <a:pt x="27893" y="927"/>
                    <a:pt x="28741" y="0"/>
                    <a:pt x="30188" y="0"/>
                  </a:cubicBezTo>
                  <a:lnTo>
                    <a:pt x="36989" y="0"/>
                  </a:lnTo>
                  <a:cubicBezTo>
                    <a:pt x="38436" y="0"/>
                    <a:pt x="38774" y="1016"/>
                    <a:pt x="38009" y="2114"/>
                  </a:cubicBezTo>
                  <a:lnTo>
                    <a:pt x="25438" y="20984"/>
                  </a:lnTo>
                  <a:lnTo>
                    <a:pt x="38181" y="4002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2CF7D24C-60A7-1DB8-9370-2838D262CEF3}"/>
                </a:ext>
              </a:extLst>
            </p:cNvPr>
            <p:cNvSpPr/>
            <p:nvPr/>
          </p:nvSpPr>
          <p:spPr>
            <a:xfrm>
              <a:off x="11351921" y="6704381"/>
              <a:ext cx="11136" cy="59149"/>
            </a:xfrm>
            <a:custGeom>
              <a:avLst/>
              <a:gdLst>
                <a:gd name="connsiteX0" fmla="*/ 11136 w 11136"/>
                <a:gd name="connsiteY0" fmla="*/ 9476 h 59149"/>
                <a:gd name="connsiteX1" fmla="*/ 9179 w 11136"/>
                <a:gd name="connsiteY1" fmla="*/ 11508 h 59149"/>
                <a:gd name="connsiteX2" fmla="*/ 2129 w 11136"/>
                <a:gd name="connsiteY2" fmla="*/ 11508 h 59149"/>
                <a:gd name="connsiteX3" fmla="*/ 0 w 11136"/>
                <a:gd name="connsiteY3" fmla="*/ 9476 h 59149"/>
                <a:gd name="connsiteX4" fmla="*/ 0 w 11136"/>
                <a:gd name="connsiteY4" fmla="*/ 2202 h 59149"/>
                <a:gd name="connsiteX5" fmla="*/ 2129 w 11136"/>
                <a:gd name="connsiteY5" fmla="*/ 0 h 59149"/>
                <a:gd name="connsiteX6" fmla="*/ 9179 w 11136"/>
                <a:gd name="connsiteY6" fmla="*/ 0 h 59149"/>
                <a:gd name="connsiteX7" fmla="*/ 11136 w 11136"/>
                <a:gd name="connsiteY7" fmla="*/ 2202 h 59149"/>
                <a:gd name="connsiteX8" fmla="*/ 11136 w 11136"/>
                <a:gd name="connsiteY8" fmla="*/ 9476 h 59149"/>
                <a:gd name="connsiteX9" fmla="*/ 11136 w 11136"/>
                <a:gd name="connsiteY9" fmla="*/ 56948 h 59149"/>
                <a:gd name="connsiteX10" fmla="*/ 9179 w 11136"/>
                <a:gd name="connsiteY10" fmla="*/ 59150 h 59149"/>
                <a:gd name="connsiteX11" fmla="*/ 2129 w 11136"/>
                <a:gd name="connsiteY11" fmla="*/ 59150 h 59149"/>
                <a:gd name="connsiteX12" fmla="*/ 0 w 11136"/>
                <a:gd name="connsiteY12" fmla="*/ 56948 h 59149"/>
                <a:gd name="connsiteX13" fmla="*/ 0 w 11136"/>
                <a:gd name="connsiteY13" fmla="*/ 19124 h 59149"/>
                <a:gd name="connsiteX14" fmla="*/ 2129 w 11136"/>
                <a:gd name="connsiteY14" fmla="*/ 17005 h 59149"/>
                <a:gd name="connsiteX15" fmla="*/ 9179 w 11136"/>
                <a:gd name="connsiteY15" fmla="*/ 17005 h 59149"/>
                <a:gd name="connsiteX16" fmla="*/ 11136 w 11136"/>
                <a:gd name="connsiteY16" fmla="*/ 19124 h 59149"/>
                <a:gd name="connsiteX17" fmla="*/ 11136 w 11136"/>
                <a:gd name="connsiteY17" fmla="*/ 56948 h 5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136" h="59149">
                  <a:moveTo>
                    <a:pt x="11136" y="9476"/>
                  </a:moveTo>
                  <a:cubicBezTo>
                    <a:pt x="11136" y="10917"/>
                    <a:pt x="10626" y="11508"/>
                    <a:pt x="9179" y="11508"/>
                  </a:cubicBezTo>
                  <a:lnTo>
                    <a:pt x="2129" y="11508"/>
                  </a:lnTo>
                  <a:cubicBezTo>
                    <a:pt x="599" y="11508"/>
                    <a:pt x="0" y="10911"/>
                    <a:pt x="0" y="9476"/>
                  </a:cubicBezTo>
                  <a:lnTo>
                    <a:pt x="0" y="2202"/>
                  </a:lnTo>
                  <a:cubicBezTo>
                    <a:pt x="0" y="679"/>
                    <a:pt x="599" y="0"/>
                    <a:pt x="2129" y="0"/>
                  </a:cubicBezTo>
                  <a:lnTo>
                    <a:pt x="9179" y="0"/>
                  </a:lnTo>
                  <a:cubicBezTo>
                    <a:pt x="10626" y="0"/>
                    <a:pt x="11136" y="679"/>
                    <a:pt x="11136" y="2202"/>
                  </a:cubicBezTo>
                  <a:lnTo>
                    <a:pt x="11136" y="9476"/>
                  </a:lnTo>
                  <a:close/>
                  <a:moveTo>
                    <a:pt x="11136" y="56948"/>
                  </a:moveTo>
                  <a:cubicBezTo>
                    <a:pt x="11136" y="58471"/>
                    <a:pt x="10626" y="59150"/>
                    <a:pt x="9179" y="59150"/>
                  </a:cubicBezTo>
                  <a:lnTo>
                    <a:pt x="2129" y="59150"/>
                  </a:lnTo>
                  <a:cubicBezTo>
                    <a:pt x="599" y="59150"/>
                    <a:pt x="0" y="58477"/>
                    <a:pt x="0" y="56948"/>
                  </a:cubicBezTo>
                  <a:lnTo>
                    <a:pt x="0" y="19124"/>
                  </a:lnTo>
                  <a:cubicBezTo>
                    <a:pt x="0" y="17601"/>
                    <a:pt x="599" y="17005"/>
                    <a:pt x="2129" y="17005"/>
                  </a:cubicBezTo>
                  <a:lnTo>
                    <a:pt x="9179" y="17005"/>
                  </a:lnTo>
                  <a:cubicBezTo>
                    <a:pt x="10626" y="17005"/>
                    <a:pt x="11136" y="17595"/>
                    <a:pt x="11136" y="19124"/>
                  </a:cubicBezTo>
                  <a:lnTo>
                    <a:pt x="11136" y="5694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F243BB01-374C-FA6E-8A35-A5CCEDEB5A07}"/>
                </a:ext>
              </a:extLst>
            </p:cNvPr>
            <p:cNvSpPr/>
            <p:nvPr/>
          </p:nvSpPr>
          <p:spPr>
            <a:xfrm>
              <a:off x="11372319" y="6720724"/>
              <a:ext cx="34926" cy="43485"/>
            </a:xfrm>
            <a:custGeom>
              <a:avLst/>
              <a:gdLst>
                <a:gd name="connsiteX0" fmla="*/ 34926 w 34926"/>
                <a:gd name="connsiteY0" fmla="*/ 12429 h 43485"/>
                <a:gd name="connsiteX1" fmla="*/ 34926 w 34926"/>
                <a:gd name="connsiteY1" fmla="*/ 13869 h 43485"/>
                <a:gd name="connsiteX2" fmla="*/ 32887 w 34926"/>
                <a:gd name="connsiteY2" fmla="*/ 15900 h 43485"/>
                <a:gd name="connsiteX3" fmla="*/ 26340 w 34926"/>
                <a:gd name="connsiteY3" fmla="*/ 15900 h 43485"/>
                <a:gd name="connsiteX4" fmla="*/ 24211 w 34926"/>
                <a:gd name="connsiteY4" fmla="*/ 13869 h 43485"/>
                <a:gd name="connsiteX5" fmla="*/ 24211 w 34926"/>
                <a:gd name="connsiteY5" fmla="*/ 13279 h 43485"/>
                <a:gd name="connsiteX6" fmla="*/ 17671 w 34926"/>
                <a:gd name="connsiteY6" fmla="*/ 8797 h 43485"/>
                <a:gd name="connsiteX7" fmla="*/ 11124 w 34926"/>
                <a:gd name="connsiteY7" fmla="*/ 13279 h 43485"/>
                <a:gd name="connsiteX8" fmla="*/ 11124 w 34926"/>
                <a:gd name="connsiteY8" fmla="*/ 30118 h 43485"/>
                <a:gd name="connsiteX9" fmla="*/ 17671 w 34926"/>
                <a:gd name="connsiteY9" fmla="*/ 34688 h 43485"/>
                <a:gd name="connsiteX10" fmla="*/ 24211 w 34926"/>
                <a:gd name="connsiteY10" fmla="*/ 30118 h 43485"/>
                <a:gd name="connsiteX11" fmla="*/ 24211 w 34926"/>
                <a:gd name="connsiteY11" fmla="*/ 28849 h 43485"/>
                <a:gd name="connsiteX12" fmla="*/ 26340 w 34926"/>
                <a:gd name="connsiteY12" fmla="*/ 26735 h 43485"/>
                <a:gd name="connsiteX13" fmla="*/ 32887 w 34926"/>
                <a:gd name="connsiteY13" fmla="*/ 26735 h 43485"/>
                <a:gd name="connsiteX14" fmla="*/ 34926 w 34926"/>
                <a:gd name="connsiteY14" fmla="*/ 28849 h 43485"/>
                <a:gd name="connsiteX15" fmla="*/ 34926 w 34926"/>
                <a:gd name="connsiteY15" fmla="*/ 30962 h 43485"/>
                <a:gd name="connsiteX16" fmla="*/ 17416 w 34926"/>
                <a:gd name="connsiteY16" fmla="*/ 43486 h 43485"/>
                <a:gd name="connsiteX17" fmla="*/ 0 w 34926"/>
                <a:gd name="connsiteY17" fmla="*/ 30962 h 43485"/>
                <a:gd name="connsiteX18" fmla="*/ 0 w 34926"/>
                <a:gd name="connsiteY18" fmla="*/ 12435 h 43485"/>
                <a:gd name="connsiteX19" fmla="*/ 17505 w 34926"/>
                <a:gd name="connsiteY19" fmla="*/ 0 h 43485"/>
                <a:gd name="connsiteX20" fmla="*/ 34926 w 34926"/>
                <a:gd name="connsiteY20" fmla="*/ 12435 h 4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926" h="43485">
                  <a:moveTo>
                    <a:pt x="34926" y="12429"/>
                  </a:moveTo>
                  <a:lnTo>
                    <a:pt x="34926" y="13869"/>
                  </a:lnTo>
                  <a:cubicBezTo>
                    <a:pt x="34926" y="15393"/>
                    <a:pt x="34328" y="15900"/>
                    <a:pt x="32887" y="15900"/>
                  </a:cubicBezTo>
                  <a:lnTo>
                    <a:pt x="26340" y="15900"/>
                  </a:lnTo>
                  <a:cubicBezTo>
                    <a:pt x="24810" y="15900"/>
                    <a:pt x="24211" y="15393"/>
                    <a:pt x="24211" y="13869"/>
                  </a:cubicBezTo>
                  <a:lnTo>
                    <a:pt x="24211" y="13279"/>
                  </a:lnTo>
                  <a:cubicBezTo>
                    <a:pt x="24211" y="10150"/>
                    <a:pt x="22509" y="8797"/>
                    <a:pt x="17671" y="8797"/>
                  </a:cubicBezTo>
                  <a:cubicBezTo>
                    <a:pt x="12832" y="8797"/>
                    <a:pt x="11124" y="10150"/>
                    <a:pt x="11124" y="13279"/>
                  </a:cubicBezTo>
                  <a:lnTo>
                    <a:pt x="11124" y="30118"/>
                  </a:lnTo>
                  <a:cubicBezTo>
                    <a:pt x="11124" y="33247"/>
                    <a:pt x="12826" y="34688"/>
                    <a:pt x="17671" y="34688"/>
                  </a:cubicBezTo>
                  <a:cubicBezTo>
                    <a:pt x="22515" y="34688"/>
                    <a:pt x="24211" y="33247"/>
                    <a:pt x="24211" y="30118"/>
                  </a:cubicBezTo>
                  <a:lnTo>
                    <a:pt x="24211" y="28849"/>
                  </a:lnTo>
                  <a:cubicBezTo>
                    <a:pt x="24211" y="27325"/>
                    <a:pt x="24810" y="26735"/>
                    <a:pt x="26340" y="26735"/>
                  </a:cubicBezTo>
                  <a:lnTo>
                    <a:pt x="32887" y="26735"/>
                  </a:lnTo>
                  <a:cubicBezTo>
                    <a:pt x="34328" y="26735"/>
                    <a:pt x="34926" y="27325"/>
                    <a:pt x="34926" y="28849"/>
                  </a:cubicBezTo>
                  <a:lnTo>
                    <a:pt x="34926" y="30962"/>
                  </a:lnTo>
                  <a:cubicBezTo>
                    <a:pt x="34926" y="38579"/>
                    <a:pt x="29827" y="43486"/>
                    <a:pt x="17416" y="43486"/>
                  </a:cubicBezTo>
                  <a:cubicBezTo>
                    <a:pt x="5005" y="43486"/>
                    <a:pt x="0" y="38579"/>
                    <a:pt x="0" y="30962"/>
                  </a:cubicBezTo>
                  <a:lnTo>
                    <a:pt x="0" y="12435"/>
                  </a:lnTo>
                  <a:cubicBezTo>
                    <a:pt x="0" y="4907"/>
                    <a:pt x="5011" y="0"/>
                    <a:pt x="17505" y="0"/>
                  </a:cubicBezTo>
                  <a:cubicBezTo>
                    <a:pt x="29999" y="0"/>
                    <a:pt x="34926" y="4907"/>
                    <a:pt x="34926" y="12435"/>
                  </a:cubicBezTo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071802E6-7653-9F81-8B01-0B82994B35F0}"/>
                </a:ext>
              </a:extLst>
            </p:cNvPr>
            <p:cNvSpPr/>
            <p:nvPr/>
          </p:nvSpPr>
          <p:spPr>
            <a:xfrm>
              <a:off x="11414124" y="6720718"/>
              <a:ext cx="36711" cy="43485"/>
            </a:xfrm>
            <a:custGeom>
              <a:avLst/>
              <a:gdLst>
                <a:gd name="connsiteX0" fmla="*/ 0 w 36711"/>
                <a:gd name="connsiteY0" fmla="*/ 12435 h 43485"/>
                <a:gd name="connsiteX1" fmla="*/ 18353 w 36711"/>
                <a:gd name="connsiteY1" fmla="*/ 0 h 43485"/>
                <a:gd name="connsiteX2" fmla="*/ 36711 w 36711"/>
                <a:gd name="connsiteY2" fmla="*/ 12435 h 43485"/>
                <a:gd name="connsiteX3" fmla="*/ 36711 w 36711"/>
                <a:gd name="connsiteY3" fmla="*/ 30962 h 43485"/>
                <a:gd name="connsiteX4" fmla="*/ 18353 w 36711"/>
                <a:gd name="connsiteY4" fmla="*/ 43486 h 43485"/>
                <a:gd name="connsiteX5" fmla="*/ 0 w 36711"/>
                <a:gd name="connsiteY5" fmla="*/ 30962 h 43485"/>
                <a:gd name="connsiteX6" fmla="*/ 0 w 36711"/>
                <a:gd name="connsiteY6" fmla="*/ 12435 h 43485"/>
                <a:gd name="connsiteX7" fmla="*/ 25581 w 36711"/>
                <a:gd name="connsiteY7" fmla="*/ 13367 h 43485"/>
                <a:gd name="connsiteX8" fmla="*/ 18359 w 36711"/>
                <a:gd name="connsiteY8" fmla="*/ 8797 h 43485"/>
                <a:gd name="connsiteX9" fmla="*/ 11136 w 36711"/>
                <a:gd name="connsiteY9" fmla="*/ 13367 h 43485"/>
                <a:gd name="connsiteX10" fmla="*/ 11136 w 36711"/>
                <a:gd name="connsiteY10" fmla="*/ 30035 h 43485"/>
                <a:gd name="connsiteX11" fmla="*/ 18359 w 36711"/>
                <a:gd name="connsiteY11" fmla="*/ 34688 h 43485"/>
                <a:gd name="connsiteX12" fmla="*/ 25581 w 36711"/>
                <a:gd name="connsiteY12" fmla="*/ 30035 h 43485"/>
                <a:gd name="connsiteX13" fmla="*/ 25581 w 36711"/>
                <a:gd name="connsiteY13" fmla="*/ 13367 h 4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711" h="43485">
                  <a:moveTo>
                    <a:pt x="0" y="12435"/>
                  </a:moveTo>
                  <a:cubicBezTo>
                    <a:pt x="0" y="4907"/>
                    <a:pt x="5865" y="0"/>
                    <a:pt x="18353" y="0"/>
                  </a:cubicBezTo>
                  <a:cubicBezTo>
                    <a:pt x="30841" y="0"/>
                    <a:pt x="36711" y="4907"/>
                    <a:pt x="36711" y="12435"/>
                  </a:cubicBezTo>
                  <a:lnTo>
                    <a:pt x="36711" y="30962"/>
                  </a:lnTo>
                  <a:cubicBezTo>
                    <a:pt x="36711" y="38579"/>
                    <a:pt x="30847" y="43486"/>
                    <a:pt x="18353" y="43486"/>
                  </a:cubicBezTo>
                  <a:cubicBezTo>
                    <a:pt x="5859" y="43486"/>
                    <a:pt x="0" y="38579"/>
                    <a:pt x="0" y="30962"/>
                  </a:cubicBezTo>
                  <a:lnTo>
                    <a:pt x="0" y="12435"/>
                  </a:lnTo>
                  <a:close/>
                  <a:moveTo>
                    <a:pt x="25581" y="13367"/>
                  </a:moveTo>
                  <a:cubicBezTo>
                    <a:pt x="25581" y="10238"/>
                    <a:pt x="23114" y="8797"/>
                    <a:pt x="18359" y="8797"/>
                  </a:cubicBezTo>
                  <a:cubicBezTo>
                    <a:pt x="13603" y="8797"/>
                    <a:pt x="11136" y="10238"/>
                    <a:pt x="11136" y="13367"/>
                  </a:cubicBezTo>
                  <a:lnTo>
                    <a:pt x="11136" y="30035"/>
                  </a:lnTo>
                  <a:cubicBezTo>
                    <a:pt x="11136" y="33247"/>
                    <a:pt x="13603" y="34688"/>
                    <a:pt x="18359" y="34688"/>
                  </a:cubicBezTo>
                  <a:cubicBezTo>
                    <a:pt x="23114" y="34688"/>
                    <a:pt x="25581" y="33247"/>
                    <a:pt x="25581" y="30035"/>
                  </a:cubicBezTo>
                  <a:lnTo>
                    <a:pt x="25581" y="13367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7BDB3A67-886A-8A47-C427-DD52B49AEFD7}"/>
                </a:ext>
              </a:extLst>
            </p:cNvPr>
            <p:cNvSpPr/>
            <p:nvPr/>
          </p:nvSpPr>
          <p:spPr>
            <a:xfrm>
              <a:off x="11268560" y="6703625"/>
              <a:ext cx="34499" cy="60578"/>
            </a:xfrm>
            <a:custGeom>
              <a:avLst/>
              <a:gdLst>
                <a:gd name="connsiteX0" fmla="*/ 34499 w 34499"/>
                <a:gd name="connsiteY0" fmla="*/ 39341 h 60578"/>
                <a:gd name="connsiteX1" fmla="*/ 32632 w 34499"/>
                <a:gd name="connsiteY1" fmla="*/ 41289 h 60578"/>
                <a:gd name="connsiteX2" fmla="*/ 10875 w 34499"/>
                <a:gd name="connsiteY2" fmla="*/ 41289 h 60578"/>
                <a:gd name="connsiteX3" fmla="*/ 10875 w 34499"/>
                <a:gd name="connsiteY3" fmla="*/ 47548 h 60578"/>
                <a:gd name="connsiteX4" fmla="*/ 17505 w 34499"/>
                <a:gd name="connsiteY4" fmla="*/ 52200 h 60578"/>
                <a:gd name="connsiteX5" fmla="*/ 24134 w 34499"/>
                <a:gd name="connsiteY5" fmla="*/ 47548 h 60578"/>
                <a:gd name="connsiteX6" fmla="*/ 24134 w 34499"/>
                <a:gd name="connsiteY6" fmla="*/ 47129 h 60578"/>
                <a:gd name="connsiteX7" fmla="*/ 26263 w 34499"/>
                <a:gd name="connsiteY7" fmla="*/ 45015 h 60578"/>
                <a:gd name="connsiteX8" fmla="*/ 32211 w 34499"/>
                <a:gd name="connsiteY8" fmla="*/ 45015 h 60578"/>
                <a:gd name="connsiteX9" fmla="*/ 34333 w 34499"/>
                <a:gd name="connsiteY9" fmla="*/ 47129 h 60578"/>
                <a:gd name="connsiteX10" fmla="*/ 34333 w 34499"/>
                <a:gd name="connsiteY10" fmla="*/ 48061 h 60578"/>
                <a:gd name="connsiteX11" fmla="*/ 17422 w 34499"/>
                <a:gd name="connsiteY11" fmla="*/ 60579 h 60578"/>
                <a:gd name="connsiteX12" fmla="*/ 0 w 34499"/>
                <a:gd name="connsiteY12" fmla="*/ 48061 h 60578"/>
                <a:gd name="connsiteX13" fmla="*/ 0 w 34499"/>
                <a:gd name="connsiteY13" fmla="*/ 29534 h 60578"/>
                <a:gd name="connsiteX14" fmla="*/ 17505 w 34499"/>
                <a:gd name="connsiteY14" fmla="*/ 17099 h 60578"/>
                <a:gd name="connsiteX15" fmla="*/ 34499 w 34499"/>
                <a:gd name="connsiteY15" fmla="*/ 29534 h 60578"/>
                <a:gd name="connsiteX16" fmla="*/ 34499 w 34499"/>
                <a:gd name="connsiteY16" fmla="*/ 39347 h 60578"/>
                <a:gd name="connsiteX17" fmla="*/ 10881 w 34499"/>
                <a:gd name="connsiteY17" fmla="*/ 33844 h 60578"/>
                <a:gd name="connsiteX18" fmla="*/ 24134 w 34499"/>
                <a:gd name="connsiteY18" fmla="*/ 33844 h 60578"/>
                <a:gd name="connsiteX19" fmla="*/ 24134 w 34499"/>
                <a:gd name="connsiteY19" fmla="*/ 30118 h 60578"/>
                <a:gd name="connsiteX20" fmla="*/ 17505 w 34499"/>
                <a:gd name="connsiteY20" fmla="*/ 25465 h 60578"/>
                <a:gd name="connsiteX21" fmla="*/ 10875 w 34499"/>
                <a:gd name="connsiteY21" fmla="*/ 30118 h 60578"/>
                <a:gd name="connsiteX22" fmla="*/ 10875 w 34499"/>
                <a:gd name="connsiteY22" fmla="*/ 33844 h 60578"/>
                <a:gd name="connsiteX23" fmla="*/ 21667 w 34499"/>
                <a:gd name="connsiteY23" fmla="*/ 11082 h 60578"/>
                <a:gd name="connsiteX24" fmla="*/ 18946 w 34499"/>
                <a:gd name="connsiteY24" fmla="*/ 12523 h 60578"/>
                <a:gd name="connsiteX25" fmla="*/ 13425 w 34499"/>
                <a:gd name="connsiteY25" fmla="*/ 12523 h 60578"/>
                <a:gd name="connsiteX26" fmla="*/ 12322 w 34499"/>
                <a:gd name="connsiteY26" fmla="*/ 10409 h 60578"/>
                <a:gd name="connsiteX27" fmla="*/ 16402 w 34499"/>
                <a:gd name="connsiteY27" fmla="*/ 2114 h 60578"/>
                <a:gd name="connsiteX28" fmla="*/ 19373 w 34499"/>
                <a:gd name="connsiteY28" fmla="*/ 0 h 60578"/>
                <a:gd name="connsiteX29" fmla="*/ 26767 w 34499"/>
                <a:gd name="connsiteY29" fmla="*/ 0 h 60578"/>
                <a:gd name="connsiteX30" fmla="*/ 27787 w 34499"/>
                <a:gd name="connsiteY30" fmla="*/ 2114 h 60578"/>
                <a:gd name="connsiteX31" fmla="*/ 21667 w 34499"/>
                <a:gd name="connsiteY31" fmla="*/ 11082 h 6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4499" h="60578">
                  <a:moveTo>
                    <a:pt x="34499" y="39341"/>
                  </a:moveTo>
                  <a:cubicBezTo>
                    <a:pt x="34499" y="40693"/>
                    <a:pt x="33990" y="41289"/>
                    <a:pt x="32632" y="41289"/>
                  </a:cubicBezTo>
                  <a:lnTo>
                    <a:pt x="10875" y="41289"/>
                  </a:lnTo>
                  <a:lnTo>
                    <a:pt x="10875" y="47548"/>
                  </a:lnTo>
                  <a:cubicBezTo>
                    <a:pt x="10875" y="50506"/>
                    <a:pt x="12488" y="52200"/>
                    <a:pt x="17505" y="52200"/>
                  </a:cubicBezTo>
                  <a:cubicBezTo>
                    <a:pt x="22521" y="52200"/>
                    <a:pt x="24134" y="50506"/>
                    <a:pt x="24134" y="47548"/>
                  </a:cubicBezTo>
                  <a:lnTo>
                    <a:pt x="24134" y="47129"/>
                  </a:lnTo>
                  <a:cubicBezTo>
                    <a:pt x="24134" y="45688"/>
                    <a:pt x="24727" y="45015"/>
                    <a:pt x="26263" y="45015"/>
                  </a:cubicBezTo>
                  <a:lnTo>
                    <a:pt x="32211" y="45015"/>
                  </a:lnTo>
                  <a:cubicBezTo>
                    <a:pt x="33657" y="45015"/>
                    <a:pt x="34333" y="45694"/>
                    <a:pt x="34333" y="47129"/>
                  </a:cubicBezTo>
                  <a:lnTo>
                    <a:pt x="34333" y="48061"/>
                  </a:lnTo>
                  <a:cubicBezTo>
                    <a:pt x="34333" y="55678"/>
                    <a:pt x="29916" y="60579"/>
                    <a:pt x="17422" y="60579"/>
                  </a:cubicBezTo>
                  <a:cubicBezTo>
                    <a:pt x="4928" y="60579"/>
                    <a:pt x="0" y="55672"/>
                    <a:pt x="0" y="48061"/>
                  </a:cubicBezTo>
                  <a:lnTo>
                    <a:pt x="0" y="29534"/>
                  </a:lnTo>
                  <a:cubicBezTo>
                    <a:pt x="0" y="22006"/>
                    <a:pt x="5017" y="17099"/>
                    <a:pt x="17505" y="17099"/>
                  </a:cubicBezTo>
                  <a:cubicBezTo>
                    <a:pt x="29993" y="17099"/>
                    <a:pt x="34499" y="22006"/>
                    <a:pt x="34499" y="29534"/>
                  </a:cubicBezTo>
                  <a:lnTo>
                    <a:pt x="34499" y="39347"/>
                  </a:lnTo>
                  <a:close/>
                  <a:moveTo>
                    <a:pt x="10881" y="33844"/>
                  </a:moveTo>
                  <a:lnTo>
                    <a:pt x="24134" y="33844"/>
                  </a:lnTo>
                  <a:lnTo>
                    <a:pt x="24134" y="30118"/>
                  </a:lnTo>
                  <a:cubicBezTo>
                    <a:pt x="24134" y="27154"/>
                    <a:pt x="22266" y="25465"/>
                    <a:pt x="17505" y="25465"/>
                  </a:cubicBezTo>
                  <a:cubicBezTo>
                    <a:pt x="12743" y="25465"/>
                    <a:pt x="10875" y="27160"/>
                    <a:pt x="10875" y="30118"/>
                  </a:cubicBezTo>
                  <a:lnTo>
                    <a:pt x="10875" y="33844"/>
                  </a:lnTo>
                  <a:close/>
                  <a:moveTo>
                    <a:pt x="21667" y="11082"/>
                  </a:moveTo>
                  <a:cubicBezTo>
                    <a:pt x="21240" y="11679"/>
                    <a:pt x="20393" y="12523"/>
                    <a:pt x="18946" y="12523"/>
                  </a:cubicBezTo>
                  <a:lnTo>
                    <a:pt x="13425" y="12523"/>
                  </a:lnTo>
                  <a:cubicBezTo>
                    <a:pt x="12150" y="12523"/>
                    <a:pt x="11640" y="11933"/>
                    <a:pt x="12322" y="10409"/>
                  </a:cubicBezTo>
                  <a:lnTo>
                    <a:pt x="16402" y="2114"/>
                  </a:lnTo>
                  <a:cubicBezTo>
                    <a:pt x="17001" y="844"/>
                    <a:pt x="17843" y="0"/>
                    <a:pt x="19373" y="0"/>
                  </a:cubicBezTo>
                  <a:lnTo>
                    <a:pt x="26767" y="0"/>
                  </a:lnTo>
                  <a:cubicBezTo>
                    <a:pt x="28214" y="0"/>
                    <a:pt x="28635" y="933"/>
                    <a:pt x="27787" y="2114"/>
                  </a:cubicBezTo>
                  <a:lnTo>
                    <a:pt x="21667" y="11082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04620887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spc="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None/>
        <a:tabLst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500"/>
        </a:spcAft>
        <a:buClr>
          <a:schemeClr val="accent2"/>
        </a:buClr>
        <a:buFont typeface="Arial" panose="020B0604020202020204" pitchFamily="34" charset="0"/>
        <a:buNone/>
        <a:tabLst/>
        <a:defRPr sz="1200" b="1" kern="1200" cap="all" spc="100" baseline="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500"/>
        </a:spcAft>
        <a:buClr>
          <a:schemeClr val="accent2"/>
        </a:buClr>
        <a:buSzPct val="120000"/>
        <a:buFont typeface="Arial" panose="020B0604020202020204" pitchFamily="34" charset="0"/>
        <a:buNone/>
        <a:tabLst/>
        <a:defRPr sz="1600" b="1" kern="1200" cap="none" spc="0" baseline="0">
          <a:gradFill flip="none" rotWithShape="1">
            <a:gsLst>
              <a:gs pos="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None/>
        <a:tabLst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4pPr>
      <a:lvl5pPr marL="179388" indent="-17462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tabLst>
          <a:tab pos="212725" algn="l"/>
        </a:tabLst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361950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tabLst>
          <a:tab pos="212725" algn="l"/>
        </a:tabLst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361950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tabLst>
          <a:tab pos="212725" algn="l"/>
        </a:tabLst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361950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tabLst>
          <a:tab pos="212725" algn="l"/>
        </a:tabLst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361950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tabLst>
          <a:tab pos="212725" algn="l"/>
        </a:tabLst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10">
          <p15:clr>
            <a:srgbClr val="F26B43"/>
          </p15:clr>
        </p15:guide>
        <p15:guide id="2" pos="3840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orient="horz" pos="618">
          <p15:clr>
            <a:srgbClr val="F26B43"/>
          </p15:clr>
        </p15:guide>
        <p15:guide id="8" orient="horz" pos="958">
          <p15:clr>
            <a:srgbClr val="F26B43"/>
          </p15:clr>
        </p15:guide>
        <p15:guide id="9" orient="horz" pos="2455">
          <p15:clr>
            <a:srgbClr val="F26B43"/>
          </p15:clr>
        </p15:guide>
        <p15:guide id="10" orient="horz" pos="368">
          <p15:clr>
            <a:srgbClr val="F26B43"/>
          </p15:clr>
        </p15:guide>
        <p15:guide id="11" orient="horz" pos="1117">
          <p15:clr>
            <a:srgbClr val="F26B43"/>
          </p15:clr>
        </p15:guide>
        <p15:guide id="12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microsoft.com/office/2007/relationships/hdphoto" Target="../media/hdphoto2.wdp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4.png"/><Relationship Id="rId18" Type="http://schemas.openxmlformats.org/officeDocument/2006/relationships/image" Target="../media/image46.png"/><Relationship Id="rId26" Type="http://schemas.openxmlformats.org/officeDocument/2006/relationships/customXml" Target="../ink/ink12.xml"/><Relationship Id="rId3" Type="http://schemas.openxmlformats.org/officeDocument/2006/relationships/image" Target="../media/image33.png"/><Relationship Id="rId21" Type="http://schemas.openxmlformats.org/officeDocument/2006/relationships/image" Target="../media/image47.png"/><Relationship Id="rId7" Type="http://schemas.openxmlformats.org/officeDocument/2006/relationships/customXml" Target="../ink/ink1.xml"/><Relationship Id="rId12" Type="http://schemas.openxmlformats.org/officeDocument/2006/relationships/customXml" Target="../ink/ink4.xml"/><Relationship Id="rId17" Type="http://schemas.openxmlformats.org/officeDocument/2006/relationships/customXml" Target="../ink/ink7.xml"/><Relationship Id="rId25" Type="http://schemas.openxmlformats.org/officeDocument/2006/relationships/image" Target="../media/image49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5.png"/><Relationship Id="rId20" Type="http://schemas.openxmlformats.org/officeDocument/2006/relationships/customXml" Target="../ink/ink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1" Type="http://schemas.openxmlformats.org/officeDocument/2006/relationships/customXml" Target="../ink/ink3.xml"/><Relationship Id="rId24" Type="http://schemas.openxmlformats.org/officeDocument/2006/relationships/customXml" Target="../ink/ink11.xml"/><Relationship Id="rId5" Type="http://schemas.openxmlformats.org/officeDocument/2006/relationships/image" Target="../media/image35.png"/><Relationship Id="rId15" Type="http://schemas.openxmlformats.org/officeDocument/2006/relationships/customXml" Target="../ink/ink6.xml"/><Relationship Id="rId23" Type="http://schemas.openxmlformats.org/officeDocument/2006/relationships/image" Target="../media/image48.png"/><Relationship Id="rId28" Type="http://schemas.openxmlformats.org/officeDocument/2006/relationships/customXml" Target="../ink/ink13.xml"/><Relationship Id="rId10" Type="http://schemas.openxmlformats.org/officeDocument/2006/relationships/image" Target="../media/image43.png"/><Relationship Id="rId19" Type="http://schemas.openxmlformats.org/officeDocument/2006/relationships/customXml" Target="../ink/ink8.xml"/><Relationship Id="rId4" Type="http://schemas.openxmlformats.org/officeDocument/2006/relationships/image" Target="../media/image34.png"/><Relationship Id="rId9" Type="http://schemas.openxmlformats.org/officeDocument/2006/relationships/customXml" Target="../ink/ink2.xml"/><Relationship Id="rId14" Type="http://schemas.openxmlformats.org/officeDocument/2006/relationships/customXml" Target="../ink/ink5.xml"/><Relationship Id="rId22" Type="http://schemas.openxmlformats.org/officeDocument/2006/relationships/customXml" Target="../ink/ink10.xml"/><Relationship Id="rId27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jpeg"/><Relationship Id="rId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Relationship Id="rId4" Type="http://schemas.openxmlformats.org/officeDocument/2006/relationships/hyperlink" Target="mailto:Gerardo.gomez@jdpa.co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00DB738-FBA4-9D1A-2E98-8E0E265D149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1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A42189C-79C5-9045-B1D3-64DAE9106BCC}"/>
              </a:ext>
            </a:extLst>
          </p:cNvPr>
          <p:cNvSpPr/>
          <p:nvPr/>
        </p:nvSpPr>
        <p:spPr>
          <a:xfrm>
            <a:off x="3897153" y="-17466"/>
            <a:ext cx="6705599" cy="6858000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defTabSz="685783"/>
            <a:endParaRPr lang="en-DE" sz="13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D488F7-3AA8-1345-A8E9-7C2F3F908463}"/>
              </a:ext>
            </a:extLst>
          </p:cNvPr>
          <p:cNvSpPr/>
          <p:nvPr/>
        </p:nvSpPr>
        <p:spPr>
          <a:xfrm>
            <a:off x="-51805" y="-25066"/>
            <a:ext cx="12191999" cy="6883065"/>
          </a:xfrm>
          <a:prstGeom prst="rect">
            <a:avLst/>
          </a:prstGeom>
          <a:gradFill>
            <a:gsLst>
              <a:gs pos="77000">
                <a:srgbClr val="000000"/>
              </a:gs>
              <a:gs pos="0">
                <a:schemeClr val="tx1">
                  <a:alpha val="20000"/>
                </a:schemeClr>
              </a:gs>
              <a:gs pos="99000">
                <a:schemeClr val="tx1"/>
              </a:gs>
            </a:gsLst>
            <a:lin ang="0" scaled="0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defTabSz="685783"/>
            <a:endParaRPr lang="en-DE" sz="1300" b="1" dirty="0"/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75246E1A-6775-FC4B-83FD-627532B77AAA}"/>
              </a:ext>
            </a:extLst>
          </p:cNvPr>
          <p:cNvSpPr txBox="1">
            <a:spLocks/>
          </p:cNvSpPr>
          <p:nvPr/>
        </p:nvSpPr>
        <p:spPr>
          <a:xfrm>
            <a:off x="9594264" y="4354450"/>
            <a:ext cx="1969577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r" hangingPunct="1"/>
            <a:r>
              <a:rPr lang="en-US" sz="2000" spc="-31" dirty="0" err="1">
                <a:solidFill>
                  <a:schemeClr val="bg1"/>
                </a:solidFill>
                <a:latin typeface="Arial" panose="020B0604020202020204" pitchFamily="34" charset="0"/>
                <a:ea typeface="Roboto Thin" panose="02000000000000000000" pitchFamily="2" charset="0"/>
                <a:cs typeface="Arial" panose="020B0604020202020204" pitchFamily="34" charset="0"/>
              </a:rPr>
              <a:t>Octubre</a:t>
            </a:r>
            <a:r>
              <a:rPr lang="en-US" sz="2000" spc="-31" dirty="0">
                <a:solidFill>
                  <a:schemeClr val="bg1"/>
                </a:solidFill>
                <a:latin typeface="Arial" panose="020B0604020202020204" pitchFamily="34" charset="0"/>
                <a:ea typeface="Roboto Thin" panose="02000000000000000000" pitchFamily="2" charset="0"/>
                <a:cs typeface="Arial" panose="020B0604020202020204" pitchFamily="34" charset="0"/>
              </a:rPr>
              <a:t> 23, 2025</a:t>
            </a:r>
          </a:p>
        </p:txBody>
      </p:sp>
      <p:sp>
        <p:nvSpPr>
          <p:cNvPr id="20" name="Title 11">
            <a:extLst>
              <a:ext uri="{FF2B5EF4-FFF2-40B4-BE49-F238E27FC236}">
                <a16:creationId xmlns:a16="http://schemas.microsoft.com/office/drawing/2014/main" id="{C829C86A-6AB9-8042-911C-8B40DB60BBC9}"/>
              </a:ext>
            </a:extLst>
          </p:cNvPr>
          <p:cNvSpPr txBox="1">
            <a:spLocks/>
          </p:cNvSpPr>
          <p:nvPr/>
        </p:nvSpPr>
        <p:spPr>
          <a:xfrm>
            <a:off x="2508422" y="1831527"/>
            <a:ext cx="8904995" cy="19082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r" defTabSz="576058" hangingPunct="1">
              <a:lnSpc>
                <a:spcPct val="100000"/>
              </a:lnSpc>
              <a:defRPr sz="1200">
                <a:solidFill>
                  <a:srgbClr val="FFFFFF"/>
                </a:solidFill>
              </a:defRPr>
            </a:pPr>
            <a:r>
              <a:rPr lang="es-MX" sz="4400" noProof="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El Ecosistema de </a:t>
            </a:r>
            <a:r>
              <a:rPr lang="es-MX" sz="4400" noProof="0" dirty="0" err="1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Remarketing</a:t>
            </a:r>
            <a:r>
              <a:rPr lang="es-MX" sz="4400" noProof="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en México:</a:t>
            </a:r>
          </a:p>
          <a:p>
            <a:pPr algn="r" defTabSz="576058" hangingPunct="1">
              <a:lnSpc>
                <a:spcPct val="100000"/>
              </a:lnSpc>
              <a:defRPr sz="1200">
                <a:solidFill>
                  <a:srgbClr val="FFFFFF"/>
                </a:solidFill>
              </a:defRPr>
            </a:pPr>
            <a:r>
              <a:rPr lang="es-MX" sz="3200" noProof="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Volúmenes, Precios y Tendencia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AFB555D-A2E2-0527-92F3-33A9C4C6D0DD}"/>
              </a:ext>
            </a:extLst>
          </p:cNvPr>
          <p:cNvGrpSpPr/>
          <p:nvPr/>
        </p:nvGrpSpPr>
        <p:grpSpPr>
          <a:xfrm>
            <a:off x="353738" y="5927598"/>
            <a:ext cx="2401520" cy="615550"/>
            <a:chOff x="491206" y="1181941"/>
            <a:chExt cx="1801140" cy="461663"/>
          </a:xfrm>
        </p:grpSpPr>
        <p:pic>
          <p:nvPicPr>
            <p:cNvPr id="4" name="Picture 3" descr="Text, whiteboard&#10;&#10;Description automatically generated">
              <a:extLst>
                <a:ext uri="{FF2B5EF4-FFF2-40B4-BE49-F238E27FC236}">
                  <a16:creationId xmlns:a16="http://schemas.microsoft.com/office/drawing/2014/main" id="{0F10460F-ACD0-370D-8551-305312762A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1206" y="1237631"/>
              <a:ext cx="241477" cy="319507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797DB11-68A2-3DBA-D98A-ECAFEAF0B2BB}"/>
                </a:ext>
              </a:extLst>
            </p:cNvPr>
            <p:cNvSpPr txBox="1"/>
            <p:nvPr/>
          </p:nvSpPr>
          <p:spPr>
            <a:xfrm>
              <a:off x="765848" y="1181941"/>
              <a:ext cx="1526498" cy="461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0959" tIns="60959" rIns="60959" bIns="60959" numCol="1" spcCol="38100" rtlCol="0" anchor="t">
              <a:spAutoFit/>
            </a:bodyPr>
            <a:lstStyle/>
            <a:p>
              <a:pPr lvl="2" indent="0"/>
              <a:r>
                <a:rPr lang="en-US" sz="1600" b="1" dirty="0">
                  <a:solidFill>
                    <a:schemeClr val="bg1"/>
                  </a:solidFill>
                  <a:latin typeface="Helvetica Light" panose="020B0403020202020204"/>
                </a:rPr>
                <a:t>Benchmarks, Rankings &amp; Awards</a:t>
              </a:r>
            </a:p>
          </p:txBody>
        </p:sp>
      </p:grpSp>
      <p:pic>
        <p:nvPicPr>
          <p:cNvPr id="6" name="Picture 2" descr="Inventory Command Center Company Profile: Acquisition &amp; Investors |  PitchBook">
            <a:extLst>
              <a:ext uri="{FF2B5EF4-FFF2-40B4-BE49-F238E27FC236}">
                <a16:creationId xmlns:a16="http://schemas.microsoft.com/office/drawing/2014/main" id="{5B8E01EB-8CCF-35F5-CCDA-8A942F600C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82962" y="5800155"/>
            <a:ext cx="2035332" cy="87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699587-ABAA-2802-CC7F-6B52EBF4D7E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4588" y="5961557"/>
            <a:ext cx="863229" cy="54763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9B8E8A3-A59B-C6D9-81F4-03317ED6683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15194" y="5910553"/>
            <a:ext cx="1474527" cy="64964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FFDAE14-F9CA-50E8-99EA-257A123FCE6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06579" y="5910553"/>
            <a:ext cx="2275819" cy="649640"/>
          </a:xfrm>
          <a:prstGeom prst="rect">
            <a:avLst/>
          </a:prstGeom>
        </p:spPr>
      </p:pic>
      <p:pic>
        <p:nvPicPr>
          <p:cNvPr id="11" name="Picture 6" descr="Trabajar en ALG, Inc. | Glassdoor">
            <a:extLst>
              <a:ext uri="{FF2B5EF4-FFF2-40B4-BE49-F238E27FC236}">
                <a16:creationId xmlns:a16="http://schemas.microsoft.com/office/drawing/2014/main" id="{313EAC15-8C09-DC6E-1403-7CE0842611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3737" y="5906459"/>
            <a:ext cx="665404" cy="665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E52BDBF-0803-F2C2-E54C-68F2EFAC35DF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4847" y="436902"/>
            <a:ext cx="2355376" cy="28073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99722E8-D470-3C91-6095-1C01A6101302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1128" y="5754297"/>
            <a:ext cx="1457070" cy="83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463675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E0BD0B-0FCC-AEC4-5B2A-C32E15F670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5E071F6-6DBF-C774-11AB-6AE644790F0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1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8C2566B-8840-8E6C-7C0E-2F81778CCCFA}"/>
              </a:ext>
            </a:extLst>
          </p:cNvPr>
          <p:cNvSpPr/>
          <p:nvPr/>
        </p:nvSpPr>
        <p:spPr>
          <a:xfrm>
            <a:off x="1" y="17466"/>
            <a:ext cx="12191999" cy="6883065"/>
          </a:xfrm>
          <a:prstGeom prst="rect">
            <a:avLst/>
          </a:prstGeom>
          <a:gradFill>
            <a:gsLst>
              <a:gs pos="0">
                <a:schemeClr val="tx1">
                  <a:alpha val="55000"/>
                </a:schemeClr>
              </a:gs>
              <a:gs pos="99000">
                <a:schemeClr val="tx1"/>
              </a:gs>
            </a:gsLst>
            <a:lin ang="0" scaled="0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defTabSz="685783"/>
            <a:endParaRPr lang="en-DE" sz="1300" b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D7D523-3361-EF17-661F-174902C361BE}"/>
              </a:ext>
            </a:extLst>
          </p:cNvPr>
          <p:cNvSpPr/>
          <p:nvPr/>
        </p:nvSpPr>
        <p:spPr>
          <a:xfrm>
            <a:off x="5486402" y="0"/>
            <a:ext cx="6705599" cy="6858000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defTabSz="685783"/>
            <a:endParaRPr lang="en-DE" sz="1300"/>
          </a:p>
        </p:txBody>
      </p:sp>
      <p:sp>
        <p:nvSpPr>
          <p:cNvPr id="20" name="Title 11">
            <a:extLst>
              <a:ext uri="{FF2B5EF4-FFF2-40B4-BE49-F238E27FC236}">
                <a16:creationId xmlns:a16="http://schemas.microsoft.com/office/drawing/2014/main" id="{009110EB-503F-EDE9-3B33-8E617D66C454}"/>
              </a:ext>
            </a:extLst>
          </p:cNvPr>
          <p:cNvSpPr txBox="1">
            <a:spLocks/>
          </p:cNvSpPr>
          <p:nvPr/>
        </p:nvSpPr>
        <p:spPr>
          <a:xfrm>
            <a:off x="6095999" y="2270980"/>
            <a:ext cx="5645974" cy="11880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r" hangingPunct="1">
              <a:lnSpc>
                <a:spcPct val="80000"/>
              </a:lnSpc>
            </a:pPr>
            <a:r>
              <a:rPr lang="es-MX" sz="4800" b="1" spc="-3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lgunos Hallazgos</a:t>
            </a:r>
          </a:p>
          <a:p>
            <a:pPr algn="r" hangingPunct="1">
              <a:lnSpc>
                <a:spcPct val="80000"/>
              </a:lnSpc>
            </a:pPr>
            <a:r>
              <a:rPr lang="es-MX" sz="4800" b="1" spc="-3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J. D. Power</a:t>
            </a:r>
            <a:endParaRPr lang="en-US" sz="4800" b="1" spc="-3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875981-B783-76DE-919D-2C6C498D7F0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9146" y="6245848"/>
            <a:ext cx="2355376" cy="280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952642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77696FA-C197-7ADD-774C-6B259A2E9EE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4935990"/>
              </p:ext>
            </p:extLst>
          </p:nvPr>
        </p:nvGraphicFramePr>
        <p:xfrm>
          <a:off x="305669" y="1323051"/>
          <a:ext cx="11552799" cy="5056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F16150A-A628-CC10-7E1F-40A5EAE8E9EF}"/>
              </a:ext>
            </a:extLst>
          </p:cNvPr>
          <p:cNvSpPr txBox="1"/>
          <p:nvPr/>
        </p:nvSpPr>
        <p:spPr>
          <a:xfrm>
            <a:off x="788215" y="2716179"/>
            <a:ext cx="1573967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*Miles de pesos </a:t>
            </a: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6CF89442-3B31-43F5-9FCD-C7957755F2CE}"/>
              </a:ext>
            </a:extLst>
          </p:cNvPr>
          <p:cNvSpPr txBox="1"/>
          <p:nvPr/>
        </p:nvSpPr>
        <p:spPr>
          <a:xfrm>
            <a:off x="5089336" y="2734201"/>
            <a:ext cx="805692" cy="656460"/>
          </a:xfrm>
          <a:prstGeom prst="rect">
            <a:avLst/>
          </a:prstGeom>
          <a:solidFill>
            <a:srgbClr val="FFFF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60959" tIns="60959" rIns="60959" bIns="60959" numCol="1" spcCol="38100" rtlCol="0" anchor="t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r>
              <a:rPr lang="en-US" sz="1733" b="1" dirty="0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333%</a:t>
            </a:r>
          </a:p>
          <a:p>
            <a:pPr defTabSz="914377" hangingPunct="0"/>
            <a:r>
              <a:rPr lang="en-US" sz="1733" b="1" dirty="0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20 yr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7BF9C4AD-1BE3-3774-897E-19E37C79D825}"/>
              </a:ext>
            </a:extLst>
          </p:cNvPr>
          <p:cNvSpPr txBox="1"/>
          <p:nvPr/>
        </p:nvSpPr>
        <p:spPr>
          <a:xfrm>
            <a:off x="9202950" y="2238320"/>
            <a:ext cx="805692" cy="375946"/>
          </a:xfrm>
          <a:prstGeom prst="rect">
            <a:avLst/>
          </a:prstGeom>
          <a:solidFill>
            <a:srgbClr val="FFFF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60959" tIns="60959" rIns="60959" bIns="60959" numCol="1" spcCol="38100" rtlCol="0" anchor="t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r>
              <a:rPr lang="en-US" sz="1733" b="1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14.6%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203791C-75EE-B5C0-1D20-08F556402BDE}"/>
              </a:ext>
            </a:extLst>
          </p:cNvPr>
          <p:cNvSpPr txBox="1"/>
          <p:nvPr/>
        </p:nvSpPr>
        <p:spPr>
          <a:xfrm>
            <a:off x="9723159" y="1715909"/>
            <a:ext cx="805692" cy="389785"/>
          </a:xfrm>
          <a:prstGeom prst="rect">
            <a:avLst/>
          </a:prstGeom>
          <a:solidFill>
            <a:srgbClr val="FFFF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60959" tIns="60959" rIns="60959" bIns="60959" numCol="1" spcCol="38100" rtlCol="0" anchor="t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r>
              <a:rPr lang="en-US" sz="1733" b="1" dirty="0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16.2%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9A1A074D-9100-76B0-EE1B-109040AB9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dirty="0"/>
              <a:t>Precio promedio de los autos en México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C16109A-4820-46C9-916F-4A1E8C2C7D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0205" y="1177915"/>
            <a:ext cx="11209645" cy="4162424"/>
          </a:xfrm>
        </p:spPr>
        <p:txBody>
          <a:bodyPr/>
          <a:lstStyle/>
          <a:p>
            <a:r>
              <a:rPr lang="es-MX" sz="2000" dirty="0">
                <a:ea typeface="Roboto Light" panose="02000000000000000000" pitchFamily="2" charset="0"/>
              </a:rPr>
              <a:t>Mayor competencia, pone presión en los precios beneficiando al consumidor</a:t>
            </a:r>
            <a:endParaRPr lang="en-US" sz="2000" dirty="0"/>
          </a:p>
          <a:p>
            <a:endParaRPr lang="en-US" dirty="0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A444C58-3628-84BB-E010-EF95B88C64A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273800"/>
            <a:ext cx="11522075" cy="250825"/>
          </a:xfrm>
          <a:prstGeom prst="rect">
            <a:avLst/>
          </a:prstGeom>
        </p:spPr>
        <p:txBody>
          <a:bodyPr/>
          <a:lstStyle/>
          <a:p>
            <a:r>
              <a:rPr lang="es-ES"/>
              <a:t>Estudio del Índice de Satisfacción de Ventas de México 2025 (SSI)</a:t>
            </a:r>
            <a:r>
              <a:rPr lang="es-ES" baseline="30000"/>
              <a:t>SM</a:t>
            </a:r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94B08146-7A0E-0E03-94BF-D9B54D97CB67}"/>
              </a:ext>
            </a:extLst>
          </p:cNvPr>
          <p:cNvSpPr txBox="1"/>
          <p:nvPr/>
        </p:nvSpPr>
        <p:spPr>
          <a:xfrm>
            <a:off x="11080639" y="1272629"/>
            <a:ext cx="805692" cy="389785"/>
          </a:xfrm>
          <a:prstGeom prst="rect">
            <a:avLst/>
          </a:prstGeom>
          <a:solidFill>
            <a:srgbClr val="FFFF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60959" tIns="60959" rIns="60959" bIns="60959" numCol="1" spcCol="38100" rtlCol="0" anchor="t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r>
              <a:rPr lang="en-US" sz="1733" b="1" dirty="0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3.7%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7B8DD80B-CDB8-984F-F8E8-22406EE15F58}"/>
              </a:ext>
            </a:extLst>
          </p:cNvPr>
          <p:cNvSpPr txBox="1"/>
          <p:nvPr/>
        </p:nvSpPr>
        <p:spPr>
          <a:xfrm>
            <a:off x="8622182" y="2690563"/>
            <a:ext cx="805692" cy="389785"/>
          </a:xfrm>
          <a:prstGeom prst="rect">
            <a:avLst/>
          </a:prstGeom>
          <a:solidFill>
            <a:srgbClr val="FFFF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60959" tIns="60959" rIns="60959" bIns="60959" numCol="1" spcCol="38100" rtlCol="0" anchor="t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r>
              <a:rPr lang="en-US" sz="1733" b="1" dirty="0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6.1%</a:t>
            </a: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D2C1AADF-DB06-46EA-C7F2-96EB53260589}"/>
              </a:ext>
            </a:extLst>
          </p:cNvPr>
          <p:cNvSpPr txBox="1"/>
          <p:nvPr/>
        </p:nvSpPr>
        <p:spPr>
          <a:xfrm>
            <a:off x="10236321" y="1323051"/>
            <a:ext cx="805692" cy="389785"/>
          </a:xfrm>
          <a:prstGeom prst="rect">
            <a:avLst/>
          </a:prstGeom>
          <a:solidFill>
            <a:srgbClr val="FFFF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60959" tIns="60959" rIns="60959" bIns="60959" numCol="1" spcCol="38100" rtlCol="0" anchor="t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r>
              <a:rPr lang="en-US" sz="1733" b="1" dirty="0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11.2%</a:t>
            </a:r>
          </a:p>
        </p:txBody>
      </p:sp>
    </p:spTree>
    <p:extLst>
      <p:ext uri="{BB962C8B-B14F-4D97-AF65-F5344CB8AC3E}">
        <p14:creationId xmlns:p14="http://schemas.microsoft.com/office/powerpoint/2010/main" val="8276858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4" grpId="0" animBg="1"/>
      <p:bldP spid="3" grpId="0" animBg="1"/>
      <p:bldP spid="1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9A1A074D-9100-76B0-EE1B-109040AB9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MX" dirty="0"/>
              <a:t>El ticket promedio se mantiene se mantiene cercano a los 3 mil Pesos 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E5B476-585B-DF50-C918-37AF513B1C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2430" y="1072951"/>
            <a:ext cx="11209645" cy="4162424"/>
          </a:xfrm>
        </p:spPr>
        <p:txBody>
          <a:bodyPr/>
          <a:lstStyle/>
          <a:p>
            <a:r>
              <a:rPr lang="es-MX" sz="2000" dirty="0"/>
              <a:t>Eficiencia que se transmite que es conveniente para los consumidores, y ayuda mantenerlos cerca del Distribuidor</a:t>
            </a:r>
          </a:p>
          <a:p>
            <a:endParaRPr lang="en-US" dirty="0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A444C58-3628-84BB-E010-EF95B88C64A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273800"/>
            <a:ext cx="11522075" cy="250825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Estudio del Índice de Satisfacción en la visita a servicio en México 2025 (CSI)</a:t>
            </a:r>
            <a:r>
              <a:rPr lang="es-ES" baseline="30000" dirty="0"/>
              <a:t>SM</a:t>
            </a:r>
            <a:endParaRPr lang="en-US" dirty="0"/>
          </a:p>
        </p:txBody>
      </p:sp>
      <p:graphicFrame>
        <p:nvGraphicFramePr>
          <p:cNvPr id="17" name="Gráfico 16">
            <a:extLst>
              <a:ext uri="{FF2B5EF4-FFF2-40B4-BE49-F238E27FC236}">
                <a16:creationId xmlns:a16="http://schemas.microsoft.com/office/drawing/2014/main" id="{D8DE56C9-7B7B-E293-4C19-FDBE0FEB14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5253880"/>
              </p:ext>
            </p:extLst>
          </p:nvPr>
        </p:nvGraphicFramePr>
        <p:xfrm>
          <a:off x="312430" y="1446995"/>
          <a:ext cx="11592876" cy="48268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83F0597-8B47-32FA-E4C0-130193C9E3E5}"/>
              </a:ext>
            </a:extLst>
          </p:cNvPr>
          <p:cNvSpPr txBox="1"/>
          <p:nvPr/>
        </p:nvSpPr>
        <p:spPr>
          <a:xfrm>
            <a:off x="5290307" y="2291218"/>
            <a:ext cx="805692" cy="656460"/>
          </a:xfrm>
          <a:prstGeom prst="rect">
            <a:avLst/>
          </a:prstGeom>
          <a:solidFill>
            <a:srgbClr val="FFFF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60959" tIns="60959" rIns="60959" bIns="60959" numCol="1" spcCol="38100" rtlCol="0" anchor="t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r>
              <a:rPr lang="en-US" sz="1733" b="1" dirty="0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178%</a:t>
            </a:r>
          </a:p>
          <a:p>
            <a:pPr defTabSz="914377" hangingPunct="0"/>
            <a:r>
              <a:rPr lang="en-US" sz="1733" b="1" dirty="0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20 yr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C2F89BF3-86BC-775C-3B47-9C0C4A2CEC32}"/>
              </a:ext>
            </a:extLst>
          </p:cNvPr>
          <p:cNvSpPr txBox="1"/>
          <p:nvPr/>
        </p:nvSpPr>
        <p:spPr>
          <a:xfrm>
            <a:off x="10809328" y="2096325"/>
            <a:ext cx="805692" cy="389785"/>
          </a:xfrm>
          <a:prstGeom prst="rect">
            <a:avLst/>
          </a:prstGeom>
          <a:solidFill>
            <a:srgbClr val="FFFF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60959" tIns="60959" rIns="60959" bIns="60959" numCol="1" spcCol="38100" rtlCol="0" anchor="t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r>
              <a:rPr lang="en-US" sz="1733" b="1" dirty="0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11.5%</a:t>
            </a:r>
          </a:p>
        </p:txBody>
      </p:sp>
    </p:spTree>
    <p:extLst>
      <p:ext uri="{BB962C8B-B14F-4D97-AF65-F5344CB8AC3E}">
        <p14:creationId xmlns:p14="http://schemas.microsoft.com/office/powerpoint/2010/main" val="306140697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F6593C9A-8276-1C94-E4DA-9D8522546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b="0" noProof="0" dirty="0">
                <a:solidFill>
                  <a:schemeClr val="bg1"/>
                </a:solidFill>
              </a:rPr>
              <a:t>Total PP100: Por tipo de Mot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F72923-AAA1-B5A1-3AA3-E1A48A5716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0025" y="1037034"/>
            <a:ext cx="11209645" cy="4162424"/>
          </a:xfrm>
        </p:spPr>
        <p:txBody>
          <a:bodyPr/>
          <a:lstStyle/>
          <a:p>
            <a:r>
              <a:rPr lang="en-US" dirty="0"/>
              <a:t>PHEV </a:t>
            </a:r>
            <a:r>
              <a:rPr lang="es-MX" noProof="0" dirty="0"/>
              <a:t>reportaron mayor número de problemas por cada 100 vehículos</a:t>
            </a:r>
            <a:endParaRPr lang="es-MX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99DEA1-FEF4-0798-6E4D-6BFEC8299A1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44338" y="6542088"/>
            <a:ext cx="347662" cy="31591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defPPr>
              <a:defRPr lang="es-MX"/>
            </a:defPPr>
            <a:lvl1pPr marL="0" algn="r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FA70EE-EF21-5645-B7EF-DF5EA44B88CF}" type="slidenum">
              <a:rPr lang="en-US" smtClean="0"/>
              <a:pPr/>
              <a:t>13</a:t>
            </a:fld>
            <a:endParaRPr lang="en-US">
              <a:solidFill>
                <a:schemeClr val="bg1"/>
              </a:solidFill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57DE2DA-93C9-ABF8-C7EB-B298F88FC9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1687786"/>
              </p:ext>
            </p:extLst>
          </p:nvPr>
        </p:nvGraphicFramePr>
        <p:xfrm>
          <a:off x="702330" y="2184533"/>
          <a:ext cx="10439400" cy="3636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5D27435-39E9-7236-1E46-1469D720B348}"/>
              </a:ext>
            </a:extLst>
          </p:cNvPr>
          <p:cNvSpPr txBox="1"/>
          <p:nvPr/>
        </p:nvSpPr>
        <p:spPr>
          <a:xfrm>
            <a:off x="375756" y="6291944"/>
            <a:ext cx="148630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50" dirty="0">
                <a:solidFill>
                  <a:schemeClr val="bg1">
                    <a:lumMod val="85000"/>
                  </a:schemeClr>
                </a:solidFill>
              </a:rPr>
              <a:t>Fuente: IQS MX 2025</a:t>
            </a:r>
            <a:endParaRPr lang="en-US" sz="105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4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Sub>
          <a:bldChart bld="category"/>
        </p:bldSub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02A6BA-3160-37B6-7502-2FDEEC0D1E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dirty="0"/>
              <a:t>Gasto promedio por Generació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A6E456-B8FE-6AA4-689B-00FE883B65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FA70EE-EF21-5645-B7EF-DF5EA44B88CF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42EDBC74-2543-389B-858F-5330B4FBABFF}"/>
              </a:ext>
            </a:extLst>
          </p:cNvPr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998047956"/>
              </p:ext>
            </p:extLst>
          </p:nvPr>
        </p:nvGraphicFramePr>
        <p:xfrm>
          <a:off x="643359" y="1311662"/>
          <a:ext cx="11039475" cy="3967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453431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30DCD6-37A1-7080-F5F8-97237F0400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51FCD0-620B-B11C-3D3B-7284FC0605A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1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B24D23-40FF-48F6-447A-D47C5BE3FA9E}"/>
              </a:ext>
            </a:extLst>
          </p:cNvPr>
          <p:cNvSpPr/>
          <p:nvPr/>
        </p:nvSpPr>
        <p:spPr>
          <a:xfrm>
            <a:off x="1" y="17466"/>
            <a:ext cx="12191999" cy="6883065"/>
          </a:xfrm>
          <a:prstGeom prst="rect">
            <a:avLst/>
          </a:prstGeom>
          <a:gradFill>
            <a:gsLst>
              <a:gs pos="0">
                <a:schemeClr val="tx1">
                  <a:alpha val="55000"/>
                </a:schemeClr>
              </a:gs>
              <a:gs pos="99000">
                <a:schemeClr val="tx1"/>
              </a:gs>
            </a:gsLst>
            <a:lin ang="0" scaled="0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defTabSz="685783"/>
            <a:endParaRPr lang="en-DE" sz="1300" b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CFE904C-5CBF-9D1F-BF02-C0780502B7BD}"/>
              </a:ext>
            </a:extLst>
          </p:cNvPr>
          <p:cNvSpPr/>
          <p:nvPr/>
        </p:nvSpPr>
        <p:spPr>
          <a:xfrm>
            <a:off x="5486402" y="0"/>
            <a:ext cx="6705599" cy="6858000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defTabSz="685783"/>
            <a:endParaRPr lang="en-DE" sz="1300"/>
          </a:p>
        </p:txBody>
      </p:sp>
      <p:sp>
        <p:nvSpPr>
          <p:cNvPr id="20" name="Title 11">
            <a:extLst>
              <a:ext uri="{FF2B5EF4-FFF2-40B4-BE49-F238E27FC236}">
                <a16:creationId xmlns:a16="http://schemas.microsoft.com/office/drawing/2014/main" id="{003D9453-DA85-3CFD-D535-FB1A6CD39FD1}"/>
              </a:ext>
            </a:extLst>
          </p:cNvPr>
          <p:cNvSpPr txBox="1">
            <a:spLocks/>
          </p:cNvSpPr>
          <p:nvPr/>
        </p:nvSpPr>
        <p:spPr>
          <a:xfrm>
            <a:off x="6095999" y="2270980"/>
            <a:ext cx="5645974" cy="11880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r" hangingPunct="1">
              <a:lnSpc>
                <a:spcPct val="80000"/>
              </a:lnSpc>
            </a:pPr>
            <a:r>
              <a:rPr lang="es-MX" sz="4800" b="1" spc="-3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Y en el Negocio de Renta de Autos…</a:t>
            </a:r>
            <a:endParaRPr lang="en-US" sz="4800" b="1" spc="-3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00111CC-9417-F72B-9CD3-33D98DA3632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9146" y="6245848"/>
            <a:ext cx="2355376" cy="280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221571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DE9711-8E6E-DD25-25DD-23EEECC70C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Content Placeholder 34" descr="Interior of empty bus">
            <a:extLst>
              <a:ext uri="{FF2B5EF4-FFF2-40B4-BE49-F238E27FC236}">
                <a16:creationId xmlns:a16="http://schemas.microsoft.com/office/drawing/2014/main" id="{985372F8-8A84-E753-4880-38639A16101D}"/>
              </a:ext>
            </a:extLst>
          </p:cNvPr>
          <p:cNvPicPr>
            <a:picLocks noGrp="1" noChangeAspect="1"/>
          </p:cNvPicPr>
          <p:nvPr>
            <p:ph sz="quarter" idx="49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93384" y="4108272"/>
            <a:ext cx="3639084" cy="1862546"/>
          </a:xfrm>
        </p:spPr>
      </p:pic>
      <p:pic>
        <p:nvPicPr>
          <p:cNvPr id="45" name="Content Placeholder 44" descr="Electric car being charged">
            <a:extLst>
              <a:ext uri="{FF2B5EF4-FFF2-40B4-BE49-F238E27FC236}">
                <a16:creationId xmlns:a16="http://schemas.microsoft.com/office/drawing/2014/main" id="{54D343FE-D485-62E1-95BB-E92C55C26F6C}"/>
              </a:ext>
            </a:extLst>
          </p:cNvPr>
          <p:cNvPicPr>
            <a:picLocks noGrp="1" noChangeAspect="1"/>
          </p:cNvPicPr>
          <p:nvPr>
            <p:ph sz="quarter" idx="47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72034" y="4204738"/>
            <a:ext cx="3642266" cy="1700874"/>
          </a:xfrm>
        </p:spPr>
      </p:pic>
      <p:pic>
        <p:nvPicPr>
          <p:cNvPr id="37" name="Content Placeholder 36" descr="Large car parking lot from above">
            <a:extLst>
              <a:ext uri="{FF2B5EF4-FFF2-40B4-BE49-F238E27FC236}">
                <a16:creationId xmlns:a16="http://schemas.microsoft.com/office/drawing/2014/main" id="{2FC01E23-2B3E-86B4-A33E-0D763371C507}"/>
              </a:ext>
            </a:extLst>
          </p:cNvPr>
          <p:cNvPicPr>
            <a:picLocks noGrp="1" noChangeAspect="1"/>
          </p:cNvPicPr>
          <p:nvPr>
            <p:ph sz="quarter" idx="48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215748" y="1758303"/>
            <a:ext cx="3628932" cy="1951851"/>
          </a:xfrm>
        </p:spPr>
      </p:pic>
      <p:pic>
        <p:nvPicPr>
          <p:cNvPr id="31" name="Content Placeholder 30" descr="Man sitting in car">
            <a:extLst>
              <a:ext uri="{FF2B5EF4-FFF2-40B4-BE49-F238E27FC236}">
                <a16:creationId xmlns:a16="http://schemas.microsoft.com/office/drawing/2014/main" id="{855B5A32-0A70-D3A0-A8F3-51AD3E8DEE26}"/>
              </a:ext>
            </a:extLst>
          </p:cNvPr>
          <p:cNvPicPr>
            <a:picLocks noGrp="1" noChangeAspect="1"/>
          </p:cNvPicPr>
          <p:nvPr>
            <p:ph sz="quarter" idx="46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61606" y="1928937"/>
            <a:ext cx="3680573" cy="1802805"/>
          </a:xfrm>
        </p:spPr>
      </p:pic>
      <p:pic>
        <p:nvPicPr>
          <p:cNvPr id="50" name="Picture 49" descr="Woman signing contract">
            <a:extLst>
              <a:ext uri="{FF2B5EF4-FFF2-40B4-BE49-F238E27FC236}">
                <a16:creationId xmlns:a16="http://schemas.microsoft.com/office/drawing/2014/main" id="{1DA7505F-F75A-1900-7B2A-9C98F3BE535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62"/>
          <a:stretch>
            <a:fillRect/>
          </a:stretch>
        </p:blipFill>
        <p:spPr>
          <a:xfrm>
            <a:off x="4252314" y="4245822"/>
            <a:ext cx="3687371" cy="1724996"/>
          </a:xfrm>
          <a:prstGeom prst="rect">
            <a:avLst/>
          </a:prstGeom>
        </p:spPr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31A93CB-F5E9-9E80-5CED-9B933432C69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9" name="Content Placeholder 28" descr="Hands of person using credit card reader">
            <a:extLst>
              <a:ext uri="{FF2B5EF4-FFF2-40B4-BE49-F238E27FC236}">
                <a16:creationId xmlns:a16="http://schemas.microsoft.com/office/drawing/2014/main" id="{45FDB2D1-D8C5-4DE8-1A53-795078916275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0917" y="1916234"/>
            <a:ext cx="3636203" cy="1769206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B113B7-17C6-1639-C4FE-936D2517AF7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>
            <a:normAutofit/>
          </a:bodyPr>
          <a:lstStyle/>
          <a:p>
            <a:r>
              <a:rPr lang="es-MX" sz="2400" dirty="0">
                <a:latin typeface="Roboto" panose="02000000000000000000" pitchFamily="2" charset="0"/>
                <a:ea typeface="Roboto" panose="02000000000000000000" pitchFamily="2" charset="0"/>
              </a:rPr>
              <a:t>Costos y Tarifas</a:t>
            </a:r>
            <a:endParaRPr lang="en-US" sz="24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39" name="Picture Placeholder 38" descr="Electric car being charged">
            <a:extLst>
              <a:ext uri="{FF2B5EF4-FFF2-40B4-BE49-F238E27FC236}">
                <a16:creationId xmlns:a16="http://schemas.microsoft.com/office/drawing/2014/main" id="{066E5365-7BE3-43BD-63BD-495424453FC9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8026" y="-438963"/>
            <a:ext cx="324822" cy="305839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BFE2995-26A2-658D-1210-CC9EEEACA24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>
            <a:normAutofit/>
          </a:bodyPr>
          <a:lstStyle/>
          <a:p>
            <a:r>
              <a:rPr lang="es-MX" sz="2400" dirty="0">
                <a:latin typeface="Roboto" panose="02000000000000000000" pitchFamily="2" charset="0"/>
                <a:ea typeface="Roboto" panose="02000000000000000000" pitchFamily="2" charset="0"/>
              </a:rPr>
              <a:t>Autos de Renta</a:t>
            </a:r>
            <a:endParaRPr lang="en-US" sz="24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5E7DA4-E7B0-7294-C5EE-9456BC47D04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>
            <a:noAutofit/>
          </a:bodyPr>
          <a:lstStyle/>
          <a:p>
            <a:r>
              <a:rPr lang="es-MX" sz="2000" dirty="0">
                <a:latin typeface="Roboto" panose="02000000000000000000" pitchFamily="2" charset="0"/>
                <a:ea typeface="Roboto" panose="02000000000000000000" pitchFamily="2" charset="0"/>
              </a:rPr>
              <a:t>Proceso de</a:t>
            </a:r>
          </a:p>
          <a:p>
            <a:r>
              <a:rPr lang="es-MX" sz="2000" dirty="0">
                <a:latin typeface="Roboto" panose="02000000000000000000" pitchFamily="2" charset="0"/>
                <a:ea typeface="Roboto" panose="02000000000000000000" pitchFamily="2" charset="0"/>
              </a:rPr>
              <a:t>“Pick up”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4D89213-C9DF-2A5A-2620-C445A659614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>
            <a:normAutofit/>
          </a:bodyPr>
          <a:lstStyle/>
          <a:p>
            <a:r>
              <a:rPr lang="es-MX" sz="2000" dirty="0">
                <a:latin typeface="Roboto" panose="02000000000000000000" pitchFamily="2" charset="0"/>
                <a:ea typeface="Roboto" panose="02000000000000000000" pitchFamily="2" charset="0"/>
              </a:rPr>
              <a:t>Proceso de Entrega </a:t>
            </a:r>
          </a:p>
          <a:p>
            <a:r>
              <a:rPr lang="es-MX" sz="2000" dirty="0">
                <a:latin typeface="Roboto" panose="02000000000000000000" pitchFamily="2" charset="0"/>
                <a:ea typeface="Roboto" panose="02000000000000000000" pitchFamily="2" charset="0"/>
              </a:rPr>
              <a:t>Retorno del Vehículo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3EE649-5F27-EEF9-6C59-B6A75537EED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>
            <a:normAutofit/>
          </a:bodyPr>
          <a:lstStyle/>
          <a:p>
            <a:r>
              <a:rPr lang="es-MX" sz="2000" dirty="0">
                <a:latin typeface="Roboto" panose="02000000000000000000" pitchFamily="2" charset="0"/>
                <a:ea typeface="Roboto" panose="02000000000000000000" pitchFamily="2" charset="0"/>
              </a:rPr>
              <a:t>Proceso de</a:t>
            </a:r>
          </a:p>
          <a:p>
            <a:r>
              <a:rPr lang="es-MX" sz="2000" dirty="0">
                <a:latin typeface="Roboto" panose="02000000000000000000" pitchFamily="2" charset="0"/>
                <a:ea typeface="Roboto" panose="02000000000000000000" pitchFamily="2" charset="0"/>
              </a:rPr>
              <a:t>Reservación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CB6E886-EF3C-07FB-7929-E7D0C9AC409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>
            <a:normAutofit/>
          </a:bodyPr>
          <a:lstStyle/>
          <a:p>
            <a:r>
              <a:rPr lang="es-MX" sz="2000" dirty="0">
                <a:latin typeface="Roboto" panose="02000000000000000000" pitchFamily="2" charset="0"/>
                <a:ea typeface="Roboto" panose="02000000000000000000" pitchFamily="2" charset="0"/>
              </a:rPr>
              <a:t>Servicio de </a:t>
            </a:r>
          </a:p>
          <a:p>
            <a:r>
              <a:rPr lang="es-MX" sz="2000" dirty="0">
                <a:latin typeface="Roboto" panose="02000000000000000000" pitchFamily="2" charset="0"/>
                <a:ea typeface="Roboto" panose="02000000000000000000" pitchFamily="2" charset="0"/>
              </a:rPr>
              <a:t>“</a:t>
            </a:r>
            <a:r>
              <a:rPr lang="es-MX" sz="2000" dirty="0" err="1">
                <a:latin typeface="Roboto" panose="02000000000000000000" pitchFamily="2" charset="0"/>
                <a:ea typeface="Roboto" panose="02000000000000000000" pitchFamily="2" charset="0"/>
              </a:rPr>
              <a:t>Shuttle</a:t>
            </a:r>
            <a:r>
              <a:rPr lang="es-MX" sz="2000" dirty="0">
                <a:latin typeface="Roboto" panose="02000000000000000000" pitchFamily="2" charset="0"/>
                <a:ea typeface="Roboto" panose="02000000000000000000" pitchFamily="2" charset="0"/>
              </a:rPr>
              <a:t>”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D223FB-C326-ED1C-47F7-BE240A9E1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MX" sz="3000" b="0" dirty="0">
                <a:latin typeface="Roboto" panose="02000000000000000000" pitchFamily="2" charset="0"/>
                <a:ea typeface="Roboto" panose="02000000000000000000" pitchFamily="2" charset="0"/>
              </a:rPr>
              <a:t>Que es mas importante para el Cliente cuando Renta un Vehículo</a:t>
            </a:r>
            <a:endParaRPr lang="en-US" sz="3000" b="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6A056CB-64C6-58A3-23D3-090F63BA0C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Factores</a:t>
            </a:r>
            <a:r>
              <a:rPr lang="en-US" dirty="0"/>
              <a:t> que </a:t>
            </a:r>
            <a:r>
              <a:rPr lang="en-US" dirty="0" err="1"/>
              <a:t>analizá</a:t>
            </a:r>
            <a:r>
              <a:rPr lang="en-US" dirty="0"/>
              <a:t> J. D. Power</a:t>
            </a: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753572-BFA6-C8DD-5762-90EFFCA14A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endParaRPr lang="en-US" sz="2000" dirty="0"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9348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29D24D-31D9-3204-19E8-9C73F22EE8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FA70EE-EF21-5645-B7EF-DF5EA44B88CF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0793B8A-5991-E8C2-4D74-8F5E03F0EC6B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535" y="235594"/>
            <a:ext cx="4735513" cy="6191250"/>
          </a:xfrm>
          <a:prstGeom prst="rect">
            <a:avLst/>
          </a:prstGeom>
          <a:noFill/>
        </p:spPr>
      </p:pic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41D4908-6C21-0EE0-ADBA-A9A6CBE4F359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603746" y="1087288"/>
            <a:ext cx="6192837" cy="4486275"/>
          </a:xfrm>
          <a:prstGeom prst="rect">
            <a:avLst/>
          </a:prstGeom>
          <a:solidFill>
            <a:srgbClr val="000000">
              <a:alpha val="53000"/>
            </a:srgbClr>
          </a:solidFill>
          <a:ln w="12700">
            <a:noFill/>
          </a:ln>
        </p:spPr>
      </p:pic>
    </p:spTree>
    <p:extLst>
      <p:ext uri="{BB962C8B-B14F-4D97-AF65-F5344CB8AC3E}">
        <p14:creationId xmlns:p14="http://schemas.microsoft.com/office/powerpoint/2010/main" val="953696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9F85F3-7443-CD4E-FEE9-99E3D078A9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159F093-C7AD-0E50-1002-CE3782CC5D4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1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F5D8F09-183B-D2A0-382D-74515261EED3}"/>
              </a:ext>
            </a:extLst>
          </p:cNvPr>
          <p:cNvSpPr/>
          <p:nvPr/>
        </p:nvSpPr>
        <p:spPr>
          <a:xfrm>
            <a:off x="1" y="17466"/>
            <a:ext cx="12191999" cy="6883065"/>
          </a:xfrm>
          <a:prstGeom prst="rect">
            <a:avLst/>
          </a:prstGeom>
          <a:gradFill>
            <a:gsLst>
              <a:gs pos="0">
                <a:schemeClr val="tx1">
                  <a:alpha val="55000"/>
                </a:schemeClr>
              </a:gs>
              <a:gs pos="99000">
                <a:schemeClr val="tx1"/>
              </a:gs>
            </a:gsLst>
            <a:lin ang="0" scaled="0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defTabSz="685783"/>
            <a:endParaRPr lang="en-DE" sz="1300" b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DE930E1-6F3F-33E6-9198-A37D4F95C1E8}"/>
              </a:ext>
            </a:extLst>
          </p:cNvPr>
          <p:cNvSpPr/>
          <p:nvPr/>
        </p:nvSpPr>
        <p:spPr>
          <a:xfrm>
            <a:off x="5486402" y="0"/>
            <a:ext cx="6705599" cy="6858000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defTabSz="685783"/>
            <a:endParaRPr lang="en-DE" sz="1300"/>
          </a:p>
        </p:txBody>
      </p:sp>
      <p:sp>
        <p:nvSpPr>
          <p:cNvPr id="20" name="Title 11">
            <a:extLst>
              <a:ext uri="{FF2B5EF4-FFF2-40B4-BE49-F238E27FC236}">
                <a16:creationId xmlns:a16="http://schemas.microsoft.com/office/drawing/2014/main" id="{46F4B487-AFC8-A85C-2F3B-3DE278413744}"/>
              </a:ext>
            </a:extLst>
          </p:cNvPr>
          <p:cNvSpPr txBox="1">
            <a:spLocks/>
          </p:cNvSpPr>
          <p:nvPr/>
        </p:nvSpPr>
        <p:spPr>
          <a:xfrm>
            <a:off x="6095999" y="2270980"/>
            <a:ext cx="5645974" cy="17789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r" hangingPunct="1">
              <a:lnSpc>
                <a:spcPct val="80000"/>
              </a:lnSpc>
            </a:pPr>
            <a:r>
              <a:rPr lang="es-MX" sz="4800" b="1" spc="-3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a Competencia en la Venta de Seminuevos</a:t>
            </a:r>
            <a:endParaRPr lang="en-US" sz="4800" b="1" spc="-3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D1D610-6FE8-7735-E7EE-2CFB5866559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9146" y="6245848"/>
            <a:ext cx="2355376" cy="280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873768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693BE4-B3EC-AD0B-E425-57B70AC4ED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C63C4B59-466D-F8A3-2272-18AC1BF3B9D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C1D3FD52-09E1-F219-6795-2AE53187DBB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sz="quarter" idx="15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3439841"/>
            <a:ext cx="2460625" cy="1557880"/>
          </a:xfrm>
          <a:prstGeom prst="rect">
            <a:avLst/>
          </a:prstGeom>
        </p:spPr>
      </p:pic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B6B2A1A-7F0A-20AE-A673-B1547C200F14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7250" y="3494169"/>
            <a:ext cx="2460625" cy="1449225"/>
          </a:xfrm>
          <a:prstGeom prst="rect">
            <a:avLst/>
          </a:prstGeom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9B8C4A3-5508-073F-0FBB-667052FDD4D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7300" y="3367130"/>
            <a:ext cx="2460625" cy="1703302"/>
          </a:xfrm>
          <a:prstGeom prst="rect">
            <a:avLst/>
          </a:prstGeom>
        </p:spPr>
      </p:pic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806148A-D4D3-7687-7F9B-4E16F52B930A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8938" y="3523893"/>
            <a:ext cx="2460625" cy="1389777"/>
          </a:xfrm>
          <a:prstGeom prst="rect">
            <a:avLst/>
          </a:prstGeom>
        </p:spPr>
      </p:pic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08152FED-14F9-9D79-9916-869653A19E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>
            <a:normAutofit/>
          </a:bodyPr>
          <a:lstStyle/>
          <a:p>
            <a:r>
              <a:rPr lang="es-MX" sz="2200" dirty="0"/>
              <a:t>IQS - Calidad</a:t>
            </a:r>
            <a:endParaRPr lang="en-US" sz="2200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B8596CF7-613C-B679-2A8B-76B2C2278BB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s-MX" sz="2200" dirty="0"/>
              <a:t>Industria</a:t>
            </a:r>
            <a:endParaRPr lang="en-US" dirty="0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829716D0-8578-CE8B-C6BB-3FBBA440B9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s-MX" dirty="0"/>
              <a:t>PRONOSTICOS</a:t>
            </a:r>
            <a:endParaRPr lang="en-US" dirty="0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991788A9-3684-80B0-E2CF-85025562B81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s-MX" dirty="0"/>
              <a:t>SSI / F&amp;I / CSI</a:t>
            </a:r>
            <a:endParaRPr lang="en-US" dirty="0"/>
          </a:p>
        </p:txBody>
      </p:sp>
      <p:sp>
        <p:nvSpPr>
          <p:cNvPr id="31" name="Title 30">
            <a:extLst>
              <a:ext uri="{FF2B5EF4-FFF2-40B4-BE49-F238E27FC236}">
                <a16:creationId xmlns:a16="http://schemas.microsoft.com/office/drawing/2014/main" id="{39C265E7-91B6-7302-F626-C6935A242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s-MX" dirty="0">
                <a:solidFill>
                  <a:schemeClr val="bg1"/>
                </a:solidFill>
                <a:latin typeface="+mj-lt"/>
              </a:rPr>
              <a:t>Información con Acción – Análisis </a:t>
            </a:r>
            <a:r>
              <a:rPr lang="es-MX" dirty="0" err="1">
                <a:solidFill>
                  <a:schemeClr val="bg1"/>
                </a:solidFill>
                <a:latin typeface="+mj-lt"/>
              </a:rPr>
              <a:t>on</a:t>
            </a:r>
            <a:r>
              <a:rPr lang="es-MX" dirty="0">
                <a:solidFill>
                  <a:schemeClr val="bg1"/>
                </a:solidFill>
                <a:latin typeface="+mj-lt"/>
              </a:rPr>
              <a:t> </a:t>
            </a:r>
            <a:r>
              <a:rPr lang="es-MX" dirty="0" err="1">
                <a:solidFill>
                  <a:schemeClr val="bg1"/>
                </a:solidFill>
                <a:latin typeface="+mj-lt"/>
              </a:rPr>
              <a:t>Demand</a:t>
            </a:r>
            <a:r>
              <a:rPr lang="es-MX" dirty="0">
                <a:solidFill>
                  <a:schemeClr val="bg1"/>
                </a:solidFill>
                <a:latin typeface="+mj-lt"/>
              </a:rPr>
              <a:t>”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AC47788-4C4F-82A1-16A3-8D660FDC51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MX" sz="2200" dirty="0"/>
              <a:t>Soluciones de industria</a:t>
            </a:r>
            <a:endParaRPr lang="en-US" sz="2200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3FA10440-0493-DEE9-A7B1-2BF8BBD664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s-MX" sz="2200" dirty="0"/>
              <a:t>Apoyo con el  monitoreo de </a:t>
            </a:r>
            <a:r>
              <a:rPr lang="es-MX" sz="2400" dirty="0" err="1">
                <a:latin typeface="+mj-lt"/>
              </a:rPr>
              <a:t>KPIs</a:t>
            </a:r>
            <a:r>
              <a:rPr lang="es-MX" sz="2400" dirty="0">
                <a:latin typeface="+mj-lt"/>
              </a:rPr>
              <a:t> – Tableros de Control Clave</a:t>
            </a:r>
            <a:endParaRPr lang="en-US" sz="2400" dirty="0">
              <a:latin typeface="+mj-lt"/>
            </a:endParaRPr>
          </a:p>
          <a:p>
            <a:endParaRPr lang="en-US" sz="22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2A596D6-5AD9-0C78-A2EB-DE2C68B06A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FA70EE-EF21-5645-B7EF-DF5EA44B88CF}" type="slidenum">
              <a:rPr lang="en-US" smtClean="0">
                <a:solidFill>
                  <a:schemeClr val="bg1"/>
                </a:solidFill>
              </a:rPr>
              <a:pPr/>
              <a:t>19</a:t>
            </a:fld>
            <a:endParaRPr lang="en-US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4A8B7F12-AA5F-B3A0-5C66-638212F21051}"/>
                  </a:ext>
                </a:extLst>
              </p14:cNvPr>
              <p14:cNvContentPartPr/>
              <p14:nvPr/>
            </p14:nvContentPartPr>
            <p14:xfrm>
              <a:off x="4967056" y="3607803"/>
              <a:ext cx="872280" cy="6336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4A8B7F12-AA5F-B3A0-5C66-638212F21051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913056" y="3499803"/>
                <a:ext cx="979920" cy="27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7AB1F782-7755-8D05-245C-F92747ED21E2}"/>
                  </a:ext>
                </a:extLst>
              </p14:cNvPr>
              <p14:cNvContentPartPr/>
              <p14:nvPr/>
            </p14:nvContentPartPr>
            <p14:xfrm>
              <a:off x="5658976" y="3570723"/>
              <a:ext cx="360" cy="36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7AB1F782-7755-8D05-245C-F92747ED21E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604976" y="3462723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BEFC5C15-8DA1-8E21-B3BF-E0D636E9E2A6}"/>
                  </a:ext>
                </a:extLst>
              </p14:cNvPr>
              <p14:cNvContentPartPr/>
              <p14:nvPr/>
            </p14:nvContentPartPr>
            <p14:xfrm>
              <a:off x="5658976" y="3570723"/>
              <a:ext cx="360" cy="36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BEFC5C15-8DA1-8E21-B3BF-E0D636E9E2A6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604976" y="3462723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952AE713-268E-2878-8DD3-5BDA489482FB}"/>
                  </a:ext>
                </a:extLst>
              </p14:cNvPr>
              <p14:cNvContentPartPr/>
              <p14:nvPr/>
            </p14:nvContentPartPr>
            <p14:xfrm>
              <a:off x="5514616" y="3570723"/>
              <a:ext cx="33480" cy="36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952AE713-268E-2878-8DD3-5BDA489482FB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460029" y="3462723"/>
                <a:ext cx="14229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327B2088-43FD-615D-F8C0-1CC9E67083FE}"/>
                  </a:ext>
                </a:extLst>
              </p14:cNvPr>
              <p14:cNvContentPartPr/>
              <p14:nvPr/>
            </p14:nvContentPartPr>
            <p14:xfrm>
              <a:off x="5498776" y="3570723"/>
              <a:ext cx="360" cy="36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327B2088-43FD-615D-F8C0-1CC9E67083FE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444776" y="3462723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AF74FB9B-C943-8E7E-4887-AA1DFBBCB6E6}"/>
                  </a:ext>
                </a:extLst>
              </p14:cNvPr>
              <p14:cNvContentPartPr/>
              <p14:nvPr/>
            </p14:nvContentPartPr>
            <p14:xfrm>
              <a:off x="4893256" y="3570723"/>
              <a:ext cx="987120" cy="6264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AF74FB9B-C943-8E7E-4887-AA1DFBBCB6E6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4839256" y="3462099"/>
                <a:ext cx="1094760" cy="27952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8FF77A7D-1FC5-1660-A97E-7BB213B6FEDD}"/>
                  </a:ext>
                </a:extLst>
              </p14:cNvPr>
              <p14:cNvContentPartPr/>
              <p14:nvPr/>
            </p14:nvContentPartPr>
            <p14:xfrm>
              <a:off x="4843576" y="3481803"/>
              <a:ext cx="1053720" cy="89280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8FF77A7D-1FC5-1660-A97E-7BB213B6FEDD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4789576" y="3373803"/>
                <a:ext cx="1161360" cy="304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5F6B7C78-89E4-4A8F-BAD1-E199A5302BCB}"/>
                  </a:ext>
                </a:extLst>
              </p14:cNvPr>
              <p14:cNvContentPartPr/>
              <p14:nvPr/>
            </p14:nvContentPartPr>
            <p14:xfrm>
              <a:off x="5090896" y="3558123"/>
              <a:ext cx="360" cy="36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5F6B7C78-89E4-4A8F-BAD1-E199A5302BCB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036896" y="3450123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4897BDE3-68AA-0365-88EC-EFDCB632B36D}"/>
                  </a:ext>
                </a:extLst>
              </p14:cNvPr>
              <p14:cNvContentPartPr/>
              <p14:nvPr/>
            </p14:nvContentPartPr>
            <p14:xfrm>
              <a:off x="5770576" y="3620763"/>
              <a:ext cx="360" cy="504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4897BDE3-68AA-0365-88EC-EFDCB632B36D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5680576" y="3440763"/>
                <a:ext cx="180000" cy="364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2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C8F77733-4770-536D-7277-D4A3490665D8}"/>
                  </a:ext>
                </a:extLst>
              </p14:cNvPr>
              <p14:cNvContentPartPr/>
              <p14:nvPr/>
            </p14:nvContentPartPr>
            <p14:xfrm>
              <a:off x="5757976" y="3632643"/>
              <a:ext cx="129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C8F77733-4770-536D-7277-D4A3490665D8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665405" y="3452643"/>
                <a:ext cx="197733" cy="36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4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14DE137F-6757-2499-B7E6-C32FCDB8A4CF}"/>
                  </a:ext>
                </a:extLst>
              </p14:cNvPr>
              <p14:cNvContentPartPr/>
              <p14:nvPr/>
            </p14:nvContentPartPr>
            <p14:xfrm>
              <a:off x="5010256" y="3556323"/>
              <a:ext cx="451800" cy="15120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14DE137F-6757-2499-B7E6-C32FCDB8A4CF}"/>
                  </a:ext>
                </a:extLst>
              </p:cNvPr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4920256" y="3376323"/>
                <a:ext cx="631440" cy="374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6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197D9A73-9F65-A2AC-FB74-2EB954F3A68D}"/>
                  </a:ext>
                </a:extLst>
              </p14:cNvPr>
              <p14:cNvContentPartPr/>
              <p14:nvPr/>
            </p14:nvContentPartPr>
            <p14:xfrm>
              <a:off x="2817136" y="1173483"/>
              <a:ext cx="360" cy="360"/>
            </p14:xfrm>
          </p:contentPart>
        </mc:Choice>
        <mc:Fallback xmlns=""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197D9A73-9F65-A2AC-FB74-2EB954F3A68D}"/>
                  </a:ext>
                </a:extLst>
              </p:cNvPr>
              <p:cNvPicPr/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2727136" y="993483"/>
                <a:ext cx="180000" cy="36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8">
            <p14:nvContentPartPr>
              <p14:cNvPr id="22" name="Ink 21">
                <a:extLst>
                  <a:ext uri="{FF2B5EF4-FFF2-40B4-BE49-F238E27FC236}">
                    <a16:creationId xmlns:a16="http://schemas.microsoft.com/office/drawing/2014/main" id="{924EA06E-74EE-7740-1F87-715E3E500D87}"/>
                  </a:ext>
                </a:extLst>
              </p14:cNvPr>
              <p14:cNvContentPartPr/>
              <p14:nvPr/>
            </p14:nvContentPartPr>
            <p14:xfrm>
              <a:off x="-2236904" y="2001843"/>
              <a:ext cx="360" cy="360"/>
            </p14:xfrm>
          </p:contentPart>
        </mc:Choice>
        <mc:Fallback xmlns="">
          <p:pic>
            <p:nvPicPr>
              <p:cNvPr id="22" name="Ink 21">
                <a:extLst>
                  <a:ext uri="{FF2B5EF4-FFF2-40B4-BE49-F238E27FC236}">
                    <a16:creationId xmlns:a16="http://schemas.microsoft.com/office/drawing/2014/main" id="{924EA06E-74EE-7740-1F87-715E3E500D87}"/>
                  </a:ext>
                </a:extLst>
              </p:cNvPr>
              <p:cNvPicPr/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-2326904" y="1821843"/>
                <a:ext cx="180000" cy="3600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C306C700-D5B8-23EC-1E60-1EFE3FBD8787}"/>
              </a:ext>
            </a:extLst>
          </p:cNvPr>
          <p:cNvSpPr txBox="1"/>
          <p:nvPr/>
        </p:nvSpPr>
        <p:spPr>
          <a:xfrm>
            <a:off x="53265" y="5941635"/>
            <a:ext cx="12125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000" b="1" noProof="0" dirty="0">
                <a:solidFill>
                  <a:schemeClr val="bg1"/>
                </a:solidFill>
              </a:rPr>
              <a:t>En Proceso: </a:t>
            </a:r>
            <a:r>
              <a:rPr lang="es-MX" b="1" noProof="0" dirty="0">
                <a:solidFill>
                  <a:schemeClr val="bg1"/>
                </a:solidFill>
              </a:rPr>
              <a:t>TCO – </a:t>
            </a:r>
            <a:r>
              <a:rPr lang="es-MX" b="1" noProof="0" dirty="0" err="1">
                <a:solidFill>
                  <a:schemeClr val="bg1"/>
                </a:solidFill>
              </a:rPr>
              <a:t>Pricing</a:t>
            </a:r>
            <a:r>
              <a:rPr lang="es-MX" b="1" noProof="0" dirty="0">
                <a:solidFill>
                  <a:schemeClr val="bg1"/>
                </a:solidFill>
              </a:rPr>
              <a:t> – oferta comercial – Seminuevos – “</a:t>
            </a:r>
            <a:r>
              <a:rPr lang="es-MX" b="1" noProof="0" dirty="0" err="1">
                <a:solidFill>
                  <a:schemeClr val="bg1"/>
                </a:solidFill>
              </a:rPr>
              <a:t>Winners</a:t>
            </a:r>
            <a:r>
              <a:rPr lang="es-MX" b="1" noProof="0" dirty="0">
                <a:solidFill>
                  <a:schemeClr val="bg1"/>
                </a:solidFill>
              </a:rPr>
              <a:t> &amp; </a:t>
            </a:r>
            <a:r>
              <a:rPr lang="es-MX" b="1" noProof="0" dirty="0" err="1">
                <a:solidFill>
                  <a:schemeClr val="bg1"/>
                </a:solidFill>
              </a:rPr>
              <a:t>Losers</a:t>
            </a:r>
            <a:r>
              <a:rPr lang="es-MX" b="1" noProof="0" dirty="0">
                <a:solidFill>
                  <a:schemeClr val="bg1"/>
                </a:solidFill>
              </a:rPr>
              <a:t>” – Manufactura y Producción</a:t>
            </a:r>
          </a:p>
        </p:txBody>
      </p:sp>
    </p:spTree>
    <p:extLst>
      <p:ext uri="{BB962C8B-B14F-4D97-AF65-F5344CB8AC3E}">
        <p14:creationId xmlns:p14="http://schemas.microsoft.com/office/powerpoint/2010/main" val="3783009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01D004A-6BFB-5A4A-B5CB-12208C8B1F0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877CB2B-4EC4-CBBB-AE0B-3D0620CB1CB6}"/>
              </a:ext>
            </a:extLst>
          </p:cNvPr>
          <p:cNvSpPr/>
          <p:nvPr/>
        </p:nvSpPr>
        <p:spPr>
          <a:xfrm>
            <a:off x="0" y="-1"/>
            <a:ext cx="12192000" cy="6858001"/>
          </a:xfrm>
          <a:prstGeom prst="rect">
            <a:avLst/>
          </a:prstGeom>
          <a:gradFill>
            <a:gsLst>
              <a:gs pos="82000">
                <a:srgbClr val="000000">
                  <a:alpha val="20000"/>
                </a:srgbClr>
              </a:gs>
              <a:gs pos="0">
                <a:schemeClr val="tx1">
                  <a:alpha val="20000"/>
                </a:schemeClr>
              </a:gs>
              <a:gs pos="99000">
                <a:schemeClr val="tx1"/>
              </a:gs>
            </a:gsLst>
            <a:lin ang="0" scaled="0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MX" sz="13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06AC120-0CF8-C1D9-A3E3-1574035ABA3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9146" y="6245848"/>
            <a:ext cx="2355376" cy="280739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DC15046-450C-0AD4-28CF-B58BC2552326}"/>
              </a:ext>
            </a:extLst>
          </p:cNvPr>
          <p:cNvSpPr txBox="1">
            <a:spLocks/>
          </p:cNvSpPr>
          <p:nvPr/>
        </p:nvSpPr>
        <p:spPr>
          <a:xfrm>
            <a:off x="7281975" y="3090259"/>
            <a:ext cx="4462547" cy="343863"/>
          </a:xfrm>
        </p:spPr>
        <p:txBody>
          <a:bodyPr/>
          <a:lstStyle>
            <a:lvl1pPr marL="228594" marR="0" indent="-228594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723882" marR="0" indent="-266693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234409" marR="0" indent="-320032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40832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198021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655210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112398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9587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4026775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r" hangingPunct="1">
              <a:buNone/>
            </a:pPr>
            <a:r>
              <a:rPr lang="en-US" dirty="0">
                <a:solidFill>
                  <a:schemeClr val="bg1"/>
                </a:solidFill>
              </a:rPr>
              <a:t>Gerardo Gómez Gálvez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A53B1C-E56B-9F25-00DD-0C28DC9CBC81}"/>
              </a:ext>
            </a:extLst>
          </p:cNvPr>
          <p:cNvSpPr txBox="1">
            <a:spLocks/>
          </p:cNvSpPr>
          <p:nvPr/>
        </p:nvSpPr>
        <p:spPr>
          <a:xfrm>
            <a:off x="7281975" y="3515364"/>
            <a:ext cx="4462547" cy="343863"/>
          </a:xfrm>
        </p:spPr>
        <p:txBody>
          <a:bodyPr>
            <a:normAutofit/>
          </a:bodyPr>
          <a:lstStyle>
            <a:lvl1pPr marL="228594" marR="0" indent="-228594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723882" marR="0" indent="-266693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234409" marR="0" indent="-320032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40832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198021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655210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112398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9587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4026775" marR="0" indent="-369267" algn="l" defTabSz="914377" rtl="0" latinLnBrk="0">
              <a:lnSpc>
                <a:spcPct val="90000"/>
              </a:lnSpc>
              <a:spcBef>
                <a:spcPts val="933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r" hangingPunct="1">
              <a:buNone/>
            </a:pPr>
            <a:r>
              <a:rPr lang="en-US" sz="1200" dirty="0">
                <a:solidFill>
                  <a:schemeClr val="bg1"/>
                </a:solidFill>
              </a:rPr>
              <a:t>Sr. Director &amp; Country Manager</a:t>
            </a:r>
          </a:p>
        </p:txBody>
      </p:sp>
      <p:sp>
        <p:nvSpPr>
          <p:cNvPr id="11" name="Title 11">
            <a:extLst>
              <a:ext uri="{FF2B5EF4-FFF2-40B4-BE49-F238E27FC236}">
                <a16:creationId xmlns:a16="http://schemas.microsoft.com/office/drawing/2014/main" id="{B5203317-DBED-72E7-F5B7-0FFFFDE6AC13}"/>
              </a:ext>
            </a:extLst>
          </p:cNvPr>
          <p:cNvSpPr txBox="1">
            <a:spLocks/>
          </p:cNvSpPr>
          <p:nvPr/>
        </p:nvSpPr>
        <p:spPr>
          <a:xfrm>
            <a:off x="7166345" y="2031222"/>
            <a:ext cx="4578177" cy="74789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r"/>
            <a:r>
              <a:rPr lang="es-MX" sz="5400" b="1" dirty="0">
                <a:solidFill>
                  <a:schemeClr val="bg1"/>
                </a:solidFill>
                <a:latin typeface="Arial Bold" panose="020B0704020202020204" pitchFamily="34" charset="0"/>
                <a:ea typeface="Roboto" panose="02000000000000000000" pitchFamily="2" charset="0"/>
                <a:cs typeface="Arial Bold" panose="020B0704020202020204" pitchFamily="34" charset="0"/>
              </a:rPr>
              <a:t>¡Bienvenidos!</a:t>
            </a:r>
            <a:endParaRPr lang="es-MX" sz="6000" dirty="0">
              <a:solidFill>
                <a:schemeClr val="bg1"/>
              </a:solidFill>
              <a:latin typeface="Arial Bold" panose="020B0704020202020204" pitchFamily="34" charset="0"/>
              <a:ea typeface="Roboto" panose="02000000000000000000" pitchFamily="2" charset="0"/>
              <a:cs typeface="Arial Bold" panose="020B07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8C0AF4-3920-985A-E64B-7BE53187970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8245" y="3053445"/>
            <a:ext cx="1027460" cy="1025437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971117316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lide Number Placeholder 5">
            <a:extLst>
              <a:ext uri="{FF2B5EF4-FFF2-40B4-BE49-F238E27FC236}">
                <a16:creationId xmlns:a16="http://schemas.microsoft.com/office/drawing/2014/main" id="{4DF8F00E-EDCA-BE3F-5BF0-513BA2C00F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AFA70EE-EF21-5645-B7EF-DF5EA44B88CF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98" name="Footer Placeholder 7">
            <a:extLst>
              <a:ext uri="{FF2B5EF4-FFF2-40B4-BE49-F238E27FC236}">
                <a16:creationId xmlns:a16="http://schemas.microsoft.com/office/drawing/2014/main" id="{2494CC6C-B512-DA79-69E7-57DDD814A9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91021A8-8500-D18F-425A-985780D2E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s-MX" sz="3000" b="0" dirty="0">
                <a:latin typeface="Roboto" panose="02000000000000000000" pitchFamily="2" charset="0"/>
                <a:ea typeface="Roboto" panose="02000000000000000000" pitchFamily="2" charset="0"/>
              </a:rPr>
              <a:t>Mercado de Autos Seminuevos – Entorno COMPLEJO</a:t>
            </a:r>
            <a:endParaRPr lang="en-US" sz="3000" b="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4" name="Text Placeholder 4">
            <a:extLst>
              <a:ext uri="{FF2B5EF4-FFF2-40B4-BE49-F238E27FC236}">
                <a16:creationId xmlns:a16="http://schemas.microsoft.com/office/drawing/2014/main" id="{AA74CE1F-22E0-8055-2F2C-DB89FB484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MX" dirty="0"/>
              <a:t>Used </a:t>
            </a:r>
            <a:r>
              <a:rPr lang="es-MX" dirty="0" err="1"/>
              <a:t>vehicle</a:t>
            </a:r>
            <a:endParaRPr lang="en-US" dirty="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3E0E37DF-F97F-1D89-ED36-54509DD9D3D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311" y="883699"/>
            <a:ext cx="11455377" cy="509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4845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9A3739F-874D-87EA-9977-3900976B65F6}"/>
              </a:ext>
            </a:extLst>
          </p:cNvPr>
          <p:cNvGrpSpPr>
            <a:grpSpLocks noChangeAspect="1"/>
          </p:cNvGrpSpPr>
          <p:nvPr/>
        </p:nvGrpSpPr>
        <p:grpSpPr>
          <a:xfrm>
            <a:off x="6895901" y="108019"/>
            <a:ext cx="5020168" cy="6641963"/>
            <a:chOff x="8894546" y="2077144"/>
            <a:chExt cx="2843751" cy="376244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59E9580-852C-FCB1-DFED-88CA944960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894546" y="2077144"/>
              <a:ext cx="2843751" cy="3762442"/>
              <a:chOff x="5353787" y="1569230"/>
              <a:chExt cx="4151384" cy="5492507"/>
            </a:xfrm>
          </p:grpSpPr>
          <p:pic>
            <p:nvPicPr>
              <p:cNvPr id="5" name="Picture 4" descr="Text, whiteboard&#10;&#10;Description automatically generated">
                <a:extLst>
                  <a:ext uri="{FF2B5EF4-FFF2-40B4-BE49-F238E27FC236}">
                    <a16:creationId xmlns:a16="http://schemas.microsoft.com/office/drawing/2014/main" id="{0573304E-7235-6F98-11F1-930B32444D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53787" y="1569230"/>
                <a:ext cx="4151384" cy="5492507"/>
              </a:xfrm>
              <a:prstGeom prst="rect">
                <a:avLst/>
              </a:prstGeom>
            </p:spPr>
          </p:pic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ABCBCB6E-D8A5-CD2E-E9C4-EC5623DEDD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431943">
                <a:off x="7510001" y="4292614"/>
                <a:ext cx="127250" cy="170700"/>
              </a:xfrm>
              <a:prstGeom prst="rect">
                <a:avLst/>
              </a:prstGeom>
            </p:spPr>
          </p:pic>
        </p:grp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5C78D4E-F625-0F93-8AE1-BD98148B75CF}"/>
                </a:ext>
              </a:extLst>
            </p:cNvPr>
            <p:cNvSpPr/>
            <p:nvPr/>
          </p:nvSpPr>
          <p:spPr>
            <a:xfrm>
              <a:off x="10124122" y="3936834"/>
              <a:ext cx="341161" cy="132077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6858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2" name="Title 11">
            <a:extLst>
              <a:ext uri="{FF2B5EF4-FFF2-40B4-BE49-F238E27FC236}">
                <a16:creationId xmlns:a16="http://schemas.microsoft.com/office/drawing/2014/main" id="{E739C918-6519-71F6-BC14-182CC855F7FC}"/>
              </a:ext>
            </a:extLst>
          </p:cNvPr>
          <p:cNvSpPr txBox="1">
            <a:spLocks/>
          </p:cNvSpPr>
          <p:nvPr/>
        </p:nvSpPr>
        <p:spPr>
          <a:xfrm>
            <a:off x="2114558" y="4838672"/>
            <a:ext cx="3629199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l" defTabSz="576058" hangingPunct="1">
              <a:lnSpc>
                <a:spcPct val="100000"/>
              </a:lnSpc>
              <a:defRPr sz="1200">
                <a:solidFill>
                  <a:srgbClr val="FFFFFF"/>
                </a:solidFill>
              </a:defRPr>
            </a:pPr>
            <a:r>
              <a:rPr lang="en-US" sz="2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rardo.gomez@jdpa.com</a:t>
            </a:r>
            <a:endParaRPr lang="en-US" sz="24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3308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6C7CABF-AB6F-BE4C-B19D-9FD52682D6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1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64A1CC-0E21-E397-7BE0-839C7C3EFC0F}"/>
              </a:ext>
            </a:extLst>
          </p:cNvPr>
          <p:cNvSpPr/>
          <p:nvPr/>
        </p:nvSpPr>
        <p:spPr>
          <a:xfrm>
            <a:off x="1" y="17466"/>
            <a:ext cx="12191999" cy="6883065"/>
          </a:xfrm>
          <a:prstGeom prst="rect">
            <a:avLst/>
          </a:prstGeom>
          <a:gradFill>
            <a:gsLst>
              <a:gs pos="0">
                <a:schemeClr val="tx1">
                  <a:alpha val="55000"/>
                </a:schemeClr>
              </a:gs>
              <a:gs pos="99000">
                <a:schemeClr val="tx1"/>
              </a:gs>
            </a:gsLst>
            <a:lin ang="0" scaled="0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defTabSz="685783"/>
            <a:endParaRPr lang="en-DE" sz="1300" b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42189C-79C5-9045-B1D3-64DAE9106BCC}"/>
              </a:ext>
            </a:extLst>
          </p:cNvPr>
          <p:cNvSpPr/>
          <p:nvPr/>
        </p:nvSpPr>
        <p:spPr>
          <a:xfrm>
            <a:off x="5486402" y="0"/>
            <a:ext cx="6705599" cy="6858000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defTabSz="685783"/>
            <a:endParaRPr lang="en-DE" sz="1300"/>
          </a:p>
        </p:txBody>
      </p:sp>
      <p:sp>
        <p:nvSpPr>
          <p:cNvPr id="20" name="Title 11">
            <a:extLst>
              <a:ext uri="{FF2B5EF4-FFF2-40B4-BE49-F238E27FC236}">
                <a16:creationId xmlns:a16="http://schemas.microsoft.com/office/drawing/2014/main" id="{C829C86A-6AB9-8042-911C-8B40DB60BBC9}"/>
              </a:ext>
            </a:extLst>
          </p:cNvPr>
          <p:cNvSpPr txBox="1">
            <a:spLocks/>
          </p:cNvSpPr>
          <p:nvPr/>
        </p:nvSpPr>
        <p:spPr>
          <a:xfrm>
            <a:off x="6095999" y="2270980"/>
            <a:ext cx="5645974" cy="11880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914377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r" hangingPunct="1">
              <a:lnSpc>
                <a:spcPct val="80000"/>
              </a:lnSpc>
            </a:pPr>
            <a:r>
              <a:rPr lang="es-MX" sz="4800" b="1" spc="-3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ndustria </a:t>
            </a:r>
          </a:p>
          <a:p>
            <a:pPr algn="r" hangingPunct="1">
              <a:lnSpc>
                <a:spcPct val="80000"/>
              </a:lnSpc>
            </a:pPr>
            <a:r>
              <a:rPr lang="es-MX" sz="4800" b="1" spc="-3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utomotriz</a:t>
            </a:r>
            <a:endParaRPr lang="en-US" sz="4800" b="1" spc="-3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595A7E4-BCE7-BDE9-B53D-2E08E829992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9146" y="6245848"/>
            <a:ext cx="2355376" cy="280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559226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978579-74DC-2B44-1AA9-EC5FB62DE2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199B7C7-5C5A-2F5A-C9AF-A5B6EDB00478}"/>
              </a:ext>
            </a:extLst>
          </p:cNvPr>
          <p:cNvSpPr/>
          <p:nvPr/>
        </p:nvSpPr>
        <p:spPr>
          <a:xfrm>
            <a:off x="6428327" y="2309004"/>
            <a:ext cx="831789" cy="3981627"/>
          </a:xfrm>
          <a:prstGeom prst="roundRect">
            <a:avLst/>
          </a:prstGeom>
          <a:noFill/>
          <a:ln w="57150" cap="flat">
            <a:solidFill>
              <a:srgbClr val="FF00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6858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6745371-1698-E1D7-A831-D90A37D21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b="0" noProof="0" dirty="0"/>
              <a:t>Producción y Ventas Globa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D27E3B-2D4D-DF08-FE42-380B717C46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7208" y="1059868"/>
            <a:ext cx="11209645" cy="4162424"/>
          </a:xfrm>
        </p:spPr>
        <p:txBody>
          <a:bodyPr/>
          <a:lstStyle/>
          <a:p>
            <a:r>
              <a:rPr lang="es-MX" dirty="0"/>
              <a:t>E</a:t>
            </a:r>
            <a:r>
              <a:rPr lang="en-US" dirty="0"/>
              <a:t>l </a:t>
            </a:r>
            <a:r>
              <a:rPr lang="es-MX" noProof="0" dirty="0"/>
              <a:t>crecimiento </a:t>
            </a:r>
            <a:r>
              <a:rPr lang="es-MX" noProof="0" dirty="0" err="1"/>
              <a:t>contin</a:t>
            </a:r>
            <a:r>
              <a:rPr lang="es-MX" dirty="0"/>
              <a:t>ú</a:t>
            </a:r>
            <a:r>
              <a:rPr lang="es-MX" noProof="0" dirty="0"/>
              <a:t>a…  y se aleja el objetivo de 100M de unidades … 2036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E62132-184E-5910-94AC-971004586181}"/>
              </a:ext>
            </a:extLst>
          </p:cNvPr>
          <p:cNvSpPr txBox="1"/>
          <p:nvPr/>
        </p:nvSpPr>
        <p:spPr>
          <a:xfrm>
            <a:off x="5262816" y="2048470"/>
            <a:ext cx="937114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Arial"/>
                <a:cs typeface="Arial"/>
                <a:sym typeface="Arial"/>
              </a:rPr>
              <a:t>Million Units</a:t>
            </a:r>
            <a:endParaRPr kumimoji="0" lang="es-MX" sz="12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Arial"/>
              <a:cs typeface="Arial"/>
              <a:sym typeface="Arial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AA42D6A-C291-6CC8-A434-E6834EED3A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8934197"/>
              </p:ext>
            </p:extLst>
          </p:nvPr>
        </p:nvGraphicFramePr>
        <p:xfrm>
          <a:off x="317208" y="1635708"/>
          <a:ext cx="11352820" cy="4287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97132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058B5966-DA58-9882-ED96-D5F757067E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/>
              <a:t>México, 7mo Producción y 12vo Ventas globales</a:t>
            </a:r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EB3FEC1-A5B8-F746-CCB9-A5A03DAD99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7447" y="1093431"/>
            <a:ext cx="11209645" cy="4162424"/>
          </a:xfrm>
        </p:spPr>
        <p:txBody>
          <a:bodyPr/>
          <a:lstStyle/>
          <a:p>
            <a:r>
              <a:rPr lang="es-MX" dirty="0" err="1"/>
              <a:t>Paises</a:t>
            </a:r>
            <a:r>
              <a:rPr lang="es-MX" dirty="0"/>
              <a:t> Productores vs. </a:t>
            </a:r>
            <a:r>
              <a:rPr lang="es-MX" dirty="0" err="1"/>
              <a:t>Paises</a:t>
            </a:r>
            <a:r>
              <a:rPr lang="es-MX" dirty="0"/>
              <a:t> Consumidores</a:t>
            </a:r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6BF9626-3CCA-FCF1-8356-6D54E17AD2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44338" y="6542088"/>
            <a:ext cx="347662" cy="315912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FA70EE-EF21-5645-B7EF-DF5EA44B88C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5115157-DCAB-DFBB-6D43-B1961B1C09B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273800"/>
            <a:ext cx="11522075" cy="2508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INEGI &amp; </a:t>
            </a:r>
            <a:r>
              <a:rPr kumimoji="0" lang="es-ES" sz="1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lobalData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00973477-FBE4-8A1D-696D-E8AFC27CEC81}"/>
              </a:ext>
            </a:extLst>
          </p:cNvPr>
          <p:cNvGraphicFramePr>
            <a:graphicFrameLocks/>
          </p:cNvGraphicFramePr>
          <p:nvPr/>
        </p:nvGraphicFramePr>
        <p:xfrm>
          <a:off x="585538" y="1646981"/>
          <a:ext cx="5826148" cy="4492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5FDE69D4-FA44-1033-334B-B8917BDFB0E6}"/>
              </a:ext>
            </a:extLst>
          </p:cNvPr>
          <p:cNvGraphicFramePr>
            <a:graphicFrameLocks/>
          </p:cNvGraphicFramePr>
          <p:nvPr/>
        </p:nvGraphicFramePr>
        <p:xfrm>
          <a:off x="5885299" y="1646981"/>
          <a:ext cx="5623333" cy="4492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Tabla 11">
            <a:extLst>
              <a:ext uri="{FF2B5EF4-FFF2-40B4-BE49-F238E27FC236}">
                <a16:creationId xmlns:a16="http://schemas.microsoft.com/office/drawing/2014/main" id="{80A0D59A-9286-E3E7-5228-D33970F63AE4}"/>
              </a:ext>
            </a:extLst>
          </p:cNvPr>
          <p:cNvGraphicFramePr>
            <a:graphicFrameLocks noGrp="1"/>
          </p:cNvGraphicFramePr>
          <p:nvPr/>
        </p:nvGraphicFramePr>
        <p:xfrm>
          <a:off x="5898990" y="2030056"/>
          <a:ext cx="394018" cy="3734513"/>
        </p:xfrm>
        <a:graphic>
          <a:graphicData uri="http://schemas.openxmlformats.org/drawingml/2006/table">
            <a:tbl>
              <a:tblPr/>
              <a:tblGrid>
                <a:gridCol w="394018">
                  <a:extLst>
                    <a:ext uri="{9D8B030D-6E8A-4147-A177-3AD203B41FA5}">
                      <a16:colId xmlns:a16="http://schemas.microsoft.com/office/drawing/2014/main" val="2732166788"/>
                    </a:ext>
                  </a:extLst>
                </a:gridCol>
              </a:tblGrid>
              <a:tr h="3734513">
                <a:tc>
                  <a:txBody>
                    <a:bodyPr/>
                    <a:lstStyle/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1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2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3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4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5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6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7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8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9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10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11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12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13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14</a:t>
                      </a:r>
                    </a:p>
                    <a:p>
                      <a:pPr marL="0">
                        <a:lnSpc>
                          <a:spcPts val="1900"/>
                        </a:lnSpc>
                        <a:spcBef>
                          <a:spcPts val="0"/>
                        </a:spcBef>
                      </a:pPr>
                      <a:r>
                        <a:rPr lang="es-MX" sz="1200"/>
                        <a:t>15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67880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3855870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B4CFDF8-305F-EAAD-73E9-EA78E0DBF8C4}"/>
              </a:ext>
            </a:extLst>
          </p:cNvPr>
          <p:cNvSpPr/>
          <p:nvPr/>
        </p:nvSpPr>
        <p:spPr>
          <a:xfrm>
            <a:off x="6351373" y="2372497"/>
            <a:ext cx="860415" cy="3935734"/>
          </a:xfrm>
          <a:prstGeom prst="roundRect">
            <a:avLst/>
          </a:prstGeom>
          <a:noFill/>
          <a:ln w="38100" cap="flat">
            <a:solidFill>
              <a:srgbClr val="C000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808075-DB8D-8437-37E8-767E9260D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Producción</a:t>
            </a:r>
            <a:r>
              <a:rPr lang="en-US" dirty="0"/>
              <a:t> y Ventas </a:t>
            </a:r>
            <a:r>
              <a:rPr lang="en-US" dirty="0" err="1"/>
              <a:t>en</a:t>
            </a:r>
            <a:r>
              <a:rPr lang="en-US" dirty="0"/>
              <a:t> México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E1DA1CA-F1D7-EAB5-1BC4-211DD30E9E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604" y="1061208"/>
            <a:ext cx="11874792" cy="552451"/>
          </a:xfrm>
        </p:spPr>
        <p:txBody>
          <a:bodyPr>
            <a:noAutofit/>
          </a:bodyPr>
          <a:lstStyle/>
          <a:p>
            <a:r>
              <a:rPr lang="es-MX" sz="1800" dirty="0"/>
              <a:t>Se recupera Pronóstico de Producción, y se da un repunte en las ventas enfilándose para que sea el 2do mejor año</a:t>
            </a:r>
            <a:endParaRPr lang="en-US" sz="1800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E0881EBD-84DC-33DD-E505-4AB447BC789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273800"/>
            <a:ext cx="11522075" cy="250825"/>
          </a:xfrm>
          <a:prstGeom prst="rect">
            <a:avLst/>
          </a:prstGeom>
        </p:spPr>
        <p:txBody>
          <a:bodyPr/>
          <a:lstStyle/>
          <a:p>
            <a:r>
              <a:rPr lang="es-ES" sz="1200" dirty="0" err="1">
                <a:solidFill>
                  <a:schemeClr val="bg1"/>
                </a:solidFill>
              </a:rPr>
              <a:t>Source</a:t>
            </a:r>
            <a:r>
              <a:rPr lang="es-ES" sz="1200" dirty="0">
                <a:solidFill>
                  <a:schemeClr val="bg1"/>
                </a:solidFill>
              </a:rPr>
              <a:t>: INEGI &amp; GlobalData</a:t>
            </a:r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Chart 5">
            <a:extLst>
              <a:ext uri="{FF2B5EF4-FFF2-40B4-BE49-F238E27FC236}">
                <a16:creationId xmlns:a16="http://schemas.microsoft.com/office/drawing/2014/main" id="{EC66B960-E22A-E24A-4C2D-0D775979D8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3169634"/>
              </p:ext>
            </p:extLst>
          </p:nvPr>
        </p:nvGraphicFramePr>
        <p:xfrm>
          <a:off x="317208" y="1704479"/>
          <a:ext cx="11294442" cy="447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41030126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9B1D8B-0798-8762-D596-9E2418C5CE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95C5193-5D50-B5DD-4373-EC7E208B8A2E}"/>
              </a:ext>
            </a:extLst>
          </p:cNvPr>
          <p:cNvSpPr/>
          <p:nvPr/>
        </p:nvSpPr>
        <p:spPr>
          <a:xfrm>
            <a:off x="4839891" y="2291507"/>
            <a:ext cx="844813" cy="4049283"/>
          </a:xfrm>
          <a:prstGeom prst="roundRect">
            <a:avLst/>
          </a:prstGeom>
          <a:noFill/>
          <a:ln w="57150" cap="flat">
            <a:solidFill>
              <a:srgbClr val="FF00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F9D5F1A-D080-86A1-7AC6-87436EBD5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b="0" noProof="0"/>
              <a:t>LATAM Producción y Venta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0DB89F5-F7B4-F0A2-ABE8-066664FDD6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7500" y="1060126"/>
            <a:ext cx="11209338" cy="552450"/>
          </a:xfrm>
        </p:spPr>
        <p:txBody>
          <a:bodyPr/>
          <a:lstStyle/>
          <a:p>
            <a:r>
              <a:rPr lang="es-MX" noProof="0"/>
              <a:t>2 de cada 3 ventas se realizan en Brasil y México….  Y el 86% de la producción de la regió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799198-A85D-0393-D782-29C9F979D7F3}"/>
              </a:ext>
            </a:extLst>
          </p:cNvPr>
          <p:cNvSpPr txBox="1"/>
          <p:nvPr/>
        </p:nvSpPr>
        <p:spPr>
          <a:xfrm>
            <a:off x="5585044" y="2003425"/>
            <a:ext cx="937114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chemeClr val="bg1"/>
                </a:solidFill>
                <a:latin typeface="+mj-lt"/>
              </a:rPr>
              <a:t>Million Units</a:t>
            </a:r>
            <a:endParaRPr kumimoji="0" lang="es-MX" sz="12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Arial"/>
              <a:cs typeface="Arial"/>
              <a:sym typeface="Arial"/>
            </a:endParaRPr>
          </a:p>
        </p:txBody>
      </p:sp>
      <p:graphicFrame>
        <p:nvGraphicFramePr>
          <p:cNvPr id="3" name="Gráfico 7">
            <a:extLst>
              <a:ext uri="{FF2B5EF4-FFF2-40B4-BE49-F238E27FC236}">
                <a16:creationId xmlns:a16="http://schemas.microsoft.com/office/drawing/2014/main" id="{616A0B62-A2E0-FFB4-46DC-DF84AC817C95}"/>
              </a:ext>
            </a:extLst>
          </p:cNvPr>
          <p:cNvGraphicFramePr>
            <a:graphicFrameLocks/>
          </p:cNvGraphicFramePr>
          <p:nvPr/>
        </p:nvGraphicFramePr>
        <p:xfrm>
          <a:off x="317208" y="1612575"/>
          <a:ext cx="11643677" cy="45194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7551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D3988AD-8456-4664-AD2B-4B637781CCF8}"/>
              </a:ext>
            </a:extLst>
          </p:cNvPr>
          <p:cNvSpPr txBox="1"/>
          <p:nvPr/>
        </p:nvSpPr>
        <p:spPr>
          <a:xfrm>
            <a:off x="317208" y="200435"/>
            <a:ext cx="8886405" cy="553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defTabSz="685783" hangingPunct="0"/>
            <a:r>
              <a:rPr lang="es-MX" sz="3000" ker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En el </a:t>
            </a:r>
            <a:r>
              <a:rPr lang="es-MX" sz="3000" kern="0" noProof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2030, 63% </a:t>
            </a:r>
            <a:r>
              <a:rPr lang="es-MX" sz="3000" ker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serán Híbridos y </a:t>
            </a:r>
            <a:r>
              <a:rPr lang="es-MX" sz="3000" kern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EV´s</a:t>
            </a:r>
            <a:r>
              <a:rPr lang="es-MX" sz="3000" ker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 en el Mundo</a:t>
            </a:r>
            <a:endParaRPr lang="es-MX" sz="3000" kern="0" noProof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088C8FF-EFFC-4A4E-A080-4004A37273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86985"/>
              </p:ext>
            </p:extLst>
          </p:nvPr>
        </p:nvGraphicFramePr>
        <p:xfrm>
          <a:off x="344295" y="1471805"/>
          <a:ext cx="11530584" cy="4882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8">
            <a:extLst>
              <a:ext uri="{FF2B5EF4-FFF2-40B4-BE49-F238E27FC236}">
                <a16:creationId xmlns:a16="http://schemas.microsoft.com/office/drawing/2014/main" id="{54CA1BB2-C404-409A-9F1A-E3C501FC3822}"/>
              </a:ext>
            </a:extLst>
          </p:cNvPr>
          <p:cNvSpPr txBox="1"/>
          <p:nvPr/>
        </p:nvSpPr>
        <p:spPr>
          <a:xfrm>
            <a:off x="5445554" y="1854979"/>
            <a:ext cx="13724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r>
              <a:rPr lang="es-MX" sz="1400" err="1">
                <a:solidFill>
                  <a:schemeClr val="bg1"/>
                </a:solidFill>
                <a:latin typeface="Avenir Next LT Pro" panose="020B0504020202020204" pitchFamily="34" charset="0"/>
              </a:rPr>
              <a:t>Million</a:t>
            </a:r>
            <a:r>
              <a:rPr lang="es-MX" sz="1400">
                <a:solidFill>
                  <a:schemeClr val="bg1"/>
                </a:solidFill>
                <a:latin typeface="Avenir Next LT Pro" panose="020B0504020202020204" pitchFamily="34" charset="0"/>
              </a:rPr>
              <a:t> of </a:t>
            </a:r>
            <a:r>
              <a:rPr lang="es-MX" sz="1400" err="1">
                <a:solidFill>
                  <a:schemeClr val="bg1"/>
                </a:solidFill>
                <a:latin typeface="Avenir Next LT Pro" panose="020B0504020202020204" pitchFamily="34" charset="0"/>
              </a:rPr>
              <a:t>units</a:t>
            </a:r>
            <a:endParaRPr lang="en-US" sz="1400" kern="0">
              <a:solidFill>
                <a:schemeClr val="bg1"/>
              </a:solidFill>
              <a:latin typeface="Avenir Next LT Pro" panose="020B0504020202020204" pitchFamily="34" charset="0"/>
              <a:sym typeface="Arial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85A7990-139A-6FCE-663D-FC8141B4D2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7121" y="989147"/>
            <a:ext cx="11209644" cy="552451"/>
          </a:xfrm>
        </p:spPr>
        <p:txBody>
          <a:bodyPr/>
          <a:lstStyle/>
          <a:p>
            <a:r>
              <a:rPr lang="es-MX" noProof="0"/>
              <a:t>Los países desarrollados seguirán lidereando el camino de la nueva tecnología de los vehículo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8377C5A-F7C4-2353-3D2E-4374AA7C10C3}"/>
              </a:ext>
            </a:extLst>
          </p:cNvPr>
          <p:cNvSpPr/>
          <p:nvPr/>
        </p:nvSpPr>
        <p:spPr>
          <a:xfrm>
            <a:off x="7197150" y="2412694"/>
            <a:ext cx="779062" cy="3870139"/>
          </a:xfrm>
          <a:prstGeom prst="roundRect">
            <a:avLst/>
          </a:prstGeom>
          <a:noFill/>
          <a:ln w="57150" cap="flat">
            <a:solidFill>
              <a:srgbClr val="FF00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object 23">
            <a:extLst>
              <a:ext uri="{FF2B5EF4-FFF2-40B4-BE49-F238E27FC236}">
                <a16:creationId xmlns:a16="http://schemas.microsoft.com/office/drawing/2014/main" id="{AFD6E09F-1499-22B6-5855-F782EEC02C4A}"/>
              </a:ext>
            </a:extLst>
          </p:cNvPr>
          <p:cNvSpPr/>
          <p:nvPr/>
        </p:nvSpPr>
        <p:spPr>
          <a:xfrm>
            <a:off x="10590689" y="236324"/>
            <a:ext cx="1193085" cy="1136114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Arrow: Up-Down 16">
            <a:extLst>
              <a:ext uri="{FF2B5EF4-FFF2-40B4-BE49-F238E27FC236}">
                <a16:creationId xmlns:a16="http://schemas.microsoft.com/office/drawing/2014/main" id="{02704F19-60D1-7586-C264-DF28F3274980}"/>
              </a:ext>
            </a:extLst>
          </p:cNvPr>
          <p:cNvSpPr/>
          <p:nvPr/>
        </p:nvSpPr>
        <p:spPr>
          <a:xfrm>
            <a:off x="10324991" y="3007464"/>
            <a:ext cx="531395" cy="843072"/>
          </a:xfrm>
          <a:prstGeom prst="upDownArrow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129248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D3988AD-8456-4664-AD2B-4B637781CCF8}"/>
              </a:ext>
            </a:extLst>
          </p:cNvPr>
          <p:cNvSpPr txBox="1"/>
          <p:nvPr/>
        </p:nvSpPr>
        <p:spPr>
          <a:xfrm>
            <a:off x="279125" y="226301"/>
            <a:ext cx="6371294" cy="553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defTabSz="685783" hangingPunct="0"/>
            <a:r>
              <a:rPr lang="es-MX" sz="3000" kern="0" noProof="0">
                <a:solidFill>
                  <a:schemeClr val="bg1"/>
                </a:solidFill>
                <a:latin typeface="+mj-lt"/>
                <a:cs typeface="Arial"/>
                <a:sym typeface="Arial"/>
              </a:rPr>
              <a:t>México - 2030 - 20% Híbridos y EV´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088C8FF-EFFC-4A4E-A080-4004A37273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7515396"/>
              </p:ext>
            </p:extLst>
          </p:nvPr>
        </p:nvGraphicFramePr>
        <p:xfrm>
          <a:off x="344295" y="1471805"/>
          <a:ext cx="11530584" cy="4882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8">
            <a:extLst>
              <a:ext uri="{FF2B5EF4-FFF2-40B4-BE49-F238E27FC236}">
                <a16:creationId xmlns:a16="http://schemas.microsoft.com/office/drawing/2014/main" id="{54CA1BB2-C404-409A-9F1A-E3C501FC3822}"/>
              </a:ext>
            </a:extLst>
          </p:cNvPr>
          <p:cNvSpPr txBox="1"/>
          <p:nvPr/>
        </p:nvSpPr>
        <p:spPr>
          <a:xfrm>
            <a:off x="5604940" y="1854979"/>
            <a:ext cx="10839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r>
              <a:rPr lang="es-MX" sz="1400" kern="0">
                <a:solidFill>
                  <a:schemeClr val="bg1"/>
                </a:solidFill>
                <a:latin typeface="Avenir Next LT Pro" panose="020B0504020202020204" pitchFamily="34" charset="0"/>
                <a:sym typeface="Arial"/>
              </a:rPr>
              <a:t>(´000 </a:t>
            </a:r>
            <a:r>
              <a:rPr lang="es-MX" sz="1400" kern="0" err="1">
                <a:solidFill>
                  <a:schemeClr val="bg1"/>
                </a:solidFill>
                <a:latin typeface="Avenir Next LT Pro" panose="020B0504020202020204" pitchFamily="34" charset="0"/>
                <a:sym typeface="Arial"/>
              </a:rPr>
              <a:t>units</a:t>
            </a:r>
            <a:r>
              <a:rPr lang="es-MX" sz="1400" kern="0">
                <a:solidFill>
                  <a:schemeClr val="bg1"/>
                </a:solidFill>
                <a:latin typeface="Avenir Next LT Pro" panose="020B0504020202020204" pitchFamily="34" charset="0"/>
                <a:sym typeface="Arial"/>
              </a:rPr>
              <a:t>)</a:t>
            </a:r>
            <a:endParaRPr lang="en-US" sz="1400" kern="0">
              <a:solidFill>
                <a:schemeClr val="bg1"/>
              </a:solidFill>
              <a:latin typeface="Avenir Next LT Pro" panose="020B0504020202020204" pitchFamily="34" charset="0"/>
              <a:sym typeface="Arial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B7891B5-FE25-27EF-058E-8F8CE9A147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7208" y="1026298"/>
            <a:ext cx="11209644" cy="552451"/>
          </a:xfrm>
        </p:spPr>
        <p:txBody>
          <a:bodyPr/>
          <a:lstStyle/>
          <a:p>
            <a:r>
              <a:rPr lang="es-MX" noProof="0" dirty="0"/>
              <a:t>La tecnología </a:t>
            </a:r>
            <a:r>
              <a:rPr lang="es-MX" dirty="0"/>
              <a:t>híbrida continúa ganando la preferencia de los consumidores</a:t>
            </a:r>
            <a:endParaRPr lang="es-MX" noProof="0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2CD221C-3A77-2844-0434-007DAF0601D7}"/>
              </a:ext>
            </a:extLst>
          </p:cNvPr>
          <p:cNvSpPr/>
          <p:nvPr/>
        </p:nvSpPr>
        <p:spPr>
          <a:xfrm>
            <a:off x="7186132" y="1959844"/>
            <a:ext cx="814868" cy="4322990"/>
          </a:xfrm>
          <a:prstGeom prst="roundRect">
            <a:avLst/>
          </a:prstGeom>
          <a:noFill/>
          <a:ln w="57150" cap="flat">
            <a:solidFill>
              <a:srgbClr val="FF00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685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object 23">
            <a:extLst>
              <a:ext uri="{FF2B5EF4-FFF2-40B4-BE49-F238E27FC236}">
                <a16:creationId xmlns:a16="http://schemas.microsoft.com/office/drawing/2014/main" id="{8384314B-B619-E2FE-6BA7-9338B0C5ABD3}"/>
              </a:ext>
            </a:extLst>
          </p:cNvPr>
          <p:cNvSpPr/>
          <p:nvPr/>
        </p:nvSpPr>
        <p:spPr>
          <a:xfrm>
            <a:off x="10590689" y="236324"/>
            <a:ext cx="1193085" cy="1136114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409544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4 US JDP - Dark">
  <a:themeElements>
    <a:clrScheme name="JD Power">
      <a:dk1>
        <a:srgbClr val="000000"/>
      </a:dk1>
      <a:lt1>
        <a:srgbClr val="FFFFFF"/>
      </a:lt1>
      <a:dk2>
        <a:srgbClr val="636569"/>
      </a:dk2>
      <a:lt2>
        <a:srgbClr val="CFD2D3"/>
      </a:lt2>
      <a:accent1>
        <a:srgbClr val="0047BA"/>
      </a:accent1>
      <a:accent2>
        <a:srgbClr val="0087FB"/>
      </a:accent2>
      <a:accent3>
        <a:srgbClr val="00B2E3"/>
      </a:accent3>
      <a:accent4>
        <a:srgbClr val="23C0A8"/>
      </a:accent4>
      <a:accent5>
        <a:srgbClr val="33E776"/>
      </a:accent5>
      <a:accent6>
        <a:srgbClr val="636569"/>
      </a:accent6>
      <a:hlink>
        <a:srgbClr val="0087FB"/>
      </a:hlink>
      <a:folHlink>
        <a:srgbClr val="636569"/>
      </a:folHlink>
    </a:clrScheme>
    <a:fontScheme name="Arial">
      <a:majorFont>
        <a:latin typeface="Arial Bold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JD Black">
      <a:srgbClr val="020000"/>
    </a:custClr>
    <a:custClr name="JD Dark Gray">
      <a:srgbClr val="636569"/>
    </a:custClr>
    <a:custClr name="JD Light Gray">
      <a:srgbClr val="CFD2D3"/>
    </a:custClr>
    <a:custClr name="JD Red">
      <a:srgbClr val="CE0E2D"/>
    </a:custClr>
    <a:custClr name="Very Dark Blue">
      <a:srgbClr val="00235D"/>
    </a:custClr>
    <a:custClr name="Dark Blue">
      <a:srgbClr val="00437E"/>
    </a:custClr>
    <a:custClr name="Strong Blue">
      <a:srgbClr val="0064BD"/>
    </a:custClr>
    <a:custClr name="Light Blue">
      <a:srgbClr val="64B7FF"/>
    </a:custClr>
    <a:custClr name="Light Cyan">
      <a:srgbClr val="55DAFF"/>
    </a:custClr>
    <a:custClr name="Pattens Blue">
      <a:srgbClr val="CBE7FF"/>
    </a:custClr>
    <a:custClr name="Soft Cyan">
      <a:srgbClr val="6FE5D3"/>
    </a:custClr>
    <a:custClr name="Dark Cyan">
      <a:srgbClr val="126054"/>
    </a:custClr>
    <a:custClr name="Forest “Green">
      <a:srgbClr val="057E38"/>
    </a:custClr>
    <a:custClr name="Lime Green">
      <a:srgbClr val="85F1AD"/>
    </a:custClr>
  </a:custClrLst>
  <a:extLst>
    <a:ext uri="{05A4C25C-085E-4340-85A3-A5531E510DB2}">
      <thm15:themeFamily xmlns:thm15="http://schemas.microsoft.com/office/thememl/2012/main" name="2024-US-JDP-Corporate-Presentation- Mexico Template" id="{1C0579B9-9ACE-6842-8955-62CC1B9ADF02}" vid="{D81BD3D9-43CB-8442-85BA-27D40ABB97EE}"/>
    </a:ext>
  </a:extLst>
</a:theme>
</file>

<file path=ppt/theme/theme2.xml><?xml version="1.0" encoding="utf-8"?>
<a:theme xmlns:a="http://schemas.openxmlformats.org/drawingml/2006/main" name="2_24 US JDP - Dark">
  <a:themeElements>
    <a:clrScheme name="JD Power">
      <a:dk1>
        <a:srgbClr val="000000"/>
      </a:dk1>
      <a:lt1>
        <a:srgbClr val="FFFFFF"/>
      </a:lt1>
      <a:dk2>
        <a:srgbClr val="636569"/>
      </a:dk2>
      <a:lt2>
        <a:srgbClr val="CFD2D3"/>
      </a:lt2>
      <a:accent1>
        <a:srgbClr val="0047BA"/>
      </a:accent1>
      <a:accent2>
        <a:srgbClr val="0087FB"/>
      </a:accent2>
      <a:accent3>
        <a:srgbClr val="00B2E3"/>
      </a:accent3>
      <a:accent4>
        <a:srgbClr val="23C0A8"/>
      </a:accent4>
      <a:accent5>
        <a:srgbClr val="33E776"/>
      </a:accent5>
      <a:accent6>
        <a:srgbClr val="636569"/>
      </a:accent6>
      <a:hlink>
        <a:srgbClr val="0087FB"/>
      </a:hlink>
      <a:folHlink>
        <a:srgbClr val="636569"/>
      </a:folHlink>
    </a:clrScheme>
    <a:fontScheme name="Arial">
      <a:majorFont>
        <a:latin typeface="Arial Bold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JD Black">
      <a:srgbClr val="020000"/>
    </a:custClr>
    <a:custClr name="JD Dark Gray">
      <a:srgbClr val="636569"/>
    </a:custClr>
    <a:custClr name="JD Light Gray">
      <a:srgbClr val="CFD2D3"/>
    </a:custClr>
    <a:custClr name="JD Red">
      <a:srgbClr val="CE0E2D"/>
    </a:custClr>
    <a:custClr name="Very Dark Blue">
      <a:srgbClr val="00235D"/>
    </a:custClr>
    <a:custClr name="Dark Blue">
      <a:srgbClr val="00437E"/>
    </a:custClr>
    <a:custClr name="Strong Blue">
      <a:srgbClr val="0064BD"/>
    </a:custClr>
    <a:custClr name="Light Blue">
      <a:srgbClr val="64B7FF"/>
    </a:custClr>
    <a:custClr name="Light Cyan">
      <a:srgbClr val="55DAFF"/>
    </a:custClr>
    <a:custClr name="Pattens Blue">
      <a:srgbClr val="CBE7FF"/>
    </a:custClr>
    <a:custClr name="Soft Cyan">
      <a:srgbClr val="6FE5D3"/>
    </a:custClr>
    <a:custClr name="Dark Cyan">
      <a:srgbClr val="126054"/>
    </a:custClr>
    <a:custClr name="Forest “Green">
      <a:srgbClr val="057E38"/>
    </a:custClr>
    <a:custClr name="Lime Green">
      <a:srgbClr val="85F1AD"/>
    </a:custClr>
  </a:custClrLst>
  <a:extLst>
    <a:ext uri="{05A4C25C-085E-4340-85A3-A5531E510DB2}">
      <thm15:themeFamily xmlns:thm15="http://schemas.microsoft.com/office/thememl/2012/main" name="2024 Templates JDP Mexico 240213" id="{79F80231-B071-408A-B321-4640DB071C50}" vid="{BC0EBFED-8F30-4BDD-890F-28633E074F3A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33E776"/>
      </a:accent1>
      <a:accent2>
        <a:srgbClr val="0086FC"/>
      </a:accent2>
      <a:accent3>
        <a:srgbClr val="20B5B8"/>
      </a:accent3>
      <a:accent4>
        <a:srgbClr val="16A7CB"/>
      </a:accent4>
      <a:accent5>
        <a:srgbClr val="CBCBCB"/>
      </a:accent5>
      <a:accent6>
        <a:srgbClr val="919191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685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3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685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3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B72C8DCC256848B086A1018AA29E24" ma:contentTypeVersion="31" ma:contentTypeDescription="Create a new document." ma:contentTypeScope="" ma:versionID="8b9578f61919dbbbd069b5d0d8d6d3cd">
  <xsd:schema xmlns:xsd="http://www.w3.org/2001/XMLSchema" xmlns:xs="http://www.w3.org/2001/XMLSchema" xmlns:p="http://schemas.microsoft.com/office/2006/metadata/properties" xmlns:ns1="http://schemas.microsoft.com/sharepoint/v3" xmlns:ns2="be2a9af7-4231-40a2-94f5-972531bd5a87" xmlns:ns3="929e53fe-c842-4105-accd-eed578a6d5c9" xmlns:ns4="http://schemas.microsoft.com/sharepoint/v4" targetNamespace="http://schemas.microsoft.com/office/2006/metadata/properties" ma:root="true" ma:fieldsID="110b3ba2bfe76c9cd268de1f341dd463" ns1:_="" ns2:_="" ns3:_="" ns4:_="">
    <xsd:import namespace="http://schemas.microsoft.com/sharepoint/v3"/>
    <xsd:import namespace="be2a9af7-4231-40a2-94f5-972531bd5a87"/>
    <xsd:import namespace="929e53fe-c842-4105-accd-eed578a6d5c9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1:_ip_UnifiedCompliancePolicyProperties" minOccurs="0"/>
                <xsd:element ref="ns1:_ip_UnifiedCompliancePolicyUIAc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  <xsd:element ref="ns2:ArchiverLinkFileType" minOccurs="0"/>
                <xsd:element ref="ns4:IconOverlay" minOccurs="0"/>
                <xsd:element ref="ns1:_vti_ItemDeclaredRecord" minOccurs="0"/>
                <xsd:element ref="ns1:_vti_ItemHoldRecord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  <xsd:element name="_vti_ItemDeclaredRecord" ma:index="31" nillable="true" ma:displayName="Declared Record" ma:hidden="true" ma:internalName="_vti_ItemDeclaredRecord" ma:readOnly="true">
      <xsd:simpleType>
        <xsd:restriction base="dms:DateTime"/>
      </xsd:simpleType>
    </xsd:element>
    <xsd:element name="_vti_ItemHoldRecordStatus" ma:index="32" nillable="true" ma:displayName="Hold and Record Status" ma:decimals="0" ma:hidden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2a9af7-4231-40a2-94f5-972531bd5a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298e3f6-9e73-4cde-b2e5-1d39d792bce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  <xsd:element name="ArchiverLinkFileType" ma:index="29" nillable="true" ma:displayName="ArchiverLinkFileType" ma:hidden="true" ma:internalName="ArchiverLinkFileTyp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9e53fe-c842-4105-accd-eed578a6d5c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2f0a9cc-c4b8-4648-92a5-68e8ab411e73}" ma:internalName="TaxCatchAll" ma:showField="CatchAllData" ma:web="929e53fe-c842-4105-accd-eed578a6d5c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30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29e53fe-c842-4105-accd-eed578a6d5c9">
      <UserInfo>
        <DisplayName>Gomez, Gerardo</DisplayName>
        <AccountId>14</AccountId>
        <AccountType/>
      </UserInfo>
      <UserInfo>
        <DisplayName>Montes, Jair</DisplayName>
        <AccountId>103</AccountId>
        <AccountType/>
      </UserInfo>
    </SharedWithUsers>
    <lcf76f155ced4ddcb4097134ff3c332f xmlns="be2a9af7-4231-40a2-94f5-972531bd5a87">
      <Terms xmlns="http://schemas.microsoft.com/office/infopath/2007/PartnerControls"/>
    </lcf76f155ced4ddcb4097134ff3c332f>
    <TaxCatchAll xmlns="929e53fe-c842-4105-accd-eed578a6d5c9" xsi:nil="true"/>
    <_ip_UnifiedCompliancePolicyUIAction xmlns="http://schemas.microsoft.com/sharepoint/v3" xsi:nil="true"/>
    <_ip_UnifiedCompliancePolicyProperties xmlns="http://schemas.microsoft.com/sharepoint/v3" xsi:nil="true"/>
    <ArchiverLinkFileType xmlns="be2a9af7-4231-40a2-94f5-972531bd5a87" xsi:nil="true"/>
    <IconOverlay xmlns="http://schemas.microsoft.com/sharepoint/v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47915D8-F13E-4975-9F91-54014115B1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e2a9af7-4231-40a2-94f5-972531bd5a87"/>
    <ds:schemaRef ds:uri="929e53fe-c842-4105-accd-eed578a6d5c9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D4EFCE-2095-4E93-9482-70E5FF4A1903}">
  <ds:schemaRefs>
    <ds:schemaRef ds:uri="929e53fe-c842-4105-accd-eed578a6d5c9"/>
    <ds:schemaRef ds:uri="be2a9af7-4231-40a2-94f5-972531bd5a8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  <ds:schemaRef ds:uri="http://schemas.microsoft.com/sharepoint/v4"/>
  </ds:schemaRefs>
</ds:datastoreItem>
</file>

<file path=customXml/itemProps3.xml><?xml version="1.0" encoding="utf-8"?>
<ds:datastoreItem xmlns:ds="http://schemas.openxmlformats.org/officeDocument/2006/customXml" ds:itemID="{72F675E0-E7A3-43B6-A403-A69219B60F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21</TotalTime>
  <Words>589</Words>
  <Application>Microsoft Office PowerPoint</Application>
  <PresentationFormat>Panorámica</PresentationFormat>
  <Paragraphs>127</Paragraphs>
  <Slides>21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34" baseType="lpstr">
      <vt:lpstr>Arial</vt:lpstr>
      <vt:lpstr>Arial Bold</vt:lpstr>
      <vt:lpstr>Avenir Next LT Pro</vt:lpstr>
      <vt:lpstr>Calibri</vt:lpstr>
      <vt:lpstr>Courier New</vt:lpstr>
      <vt:lpstr>Helvetica</vt:lpstr>
      <vt:lpstr>Helvetica Light</vt:lpstr>
      <vt:lpstr>Roboto</vt:lpstr>
      <vt:lpstr>Roboto Light</vt:lpstr>
      <vt:lpstr>Wingdings</vt:lpstr>
      <vt:lpstr>24 US JDP - Dark</vt:lpstr>
      <vt:lpstr>2_24 US JDP - Dark</vt:lpstr>
      <vt:lpstr>think-cell Slide</vt:lpstr>
      <vt:lpstr>Presentación de PowerPoint</vt:lpstr>
      <vt:lpstr>Presentación de PowerPoint</vt:lpstr>
      <vt:lpstr>Presentación de PowerPoint</vt:lpstr>
      <vt:lpstr>Producción y Ventas Globales</vt:lpstr>
      <vt:lpstr>México, 7mo Producción y 12vo Ventas globales</vt:lpstr>
      <vt:lpstr>Producción y Ventas en México</vt:lpstr>
      <vt:lpstr>LATAM Producción y Ventas</vt:lpstr>
      <vt:lpstr>Presentación de PowerPoint</vt:lpstr>
      <vt:lpstr>Presentación de PowerPoint</vt:lpstr>
      <vt:lpstr>Presentación de PowerPoint</vt:lpstr>
      <vt:lpstr>Precio promedio de los autos en México</vt:lpstr>
      <vt:lpstr>El ticket promedio se mantiene se mantiene cercano a los 3 mil Pesos </vt:lpstr>
      <vt:lpstr>Total PP100: Por tipo de Motor</vt:lpstr>
      <vt:lpstr>Gasto promedio por Generación</vt:lpstr>
      <vt:lpstr>Presentación de PowerPoint</vt:lpstr>
      <vt:lpstr>Que es mas importante para el Cliente cuando Renta un Vehículo</vt:lpstr>
      <vt:lpstr>Presentación de PowerPoint</vt:lpstr>
      <vt:lpstr>Presentación de PowerPoint</vt:lpstr>
      <vt:lpstr>Información con Acción – Análisis on Demand”</vt:lpstr>
      <vt:lpstr>Mercado de Autos Seminuevos – Entorno COMPLEJO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X VDS &amp; APEAL 2023</dc:title>
  <dc:creator>Montes, Jair</dc:creator>
  <cp:lastModifiedBy>Aitana Meda</cp:lastModifiedBy>
  <cp:revision>7</cp:revision>
  <dcterms:modified xsi:type="dcterms:W3CDTF">2025-10-21T18:3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B72C8DCC256848B086A1018AA29E24</vt:lpwstr>
  </property>
  <property fmtid="{D5CDD505-2E9C-101B-9397-08002B2CF9AE}" pid="3" name="MediaServiceImageTags">
    <vt:lpwstr/>
  </property>
</Properties>
</file>